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</p:sldMasterIdLst>
  <p:notesMasterIdLst>
    <p:notesMasterId r:id="rId15"/>
  </p:notesMasterIdLst>
  <p:handoutMasterIdLst>
    <p:handoutMasterId r:id="rId16"/>
  </p:handoutMasterIdLst>
  <p:sldIdLst>
    <p:sldId id="2145706264" r:id="rId5"/>
    <p:sldId id="2145706265" r:id="rId6"/>
    <p:sldId id="2145706274" r:id="rId7"/>
    <p:sldId id="2145706275" r:id="rId8"/>
    <p:sldId id="2145706277" r:id="rId9"/>
    <p:sldId id="2145706268" r:id="rId10"/>
    <p:sldId id="2145706278" r:id="rId11"/>
    <p:sldId id="2145706279" r:id="rId12"/>
    <p:sldId id="2145706280" r:id="rId13"/>
    <p:sldId id="2145706281" r:id="rId14"/>
  </p:sldIdLst>
  <p:sldSz cx="12192000" cy="6858000"/>
  <p:notesSz cx="6858000" cy="9144000"/>
  <p:custDataLst>
    <p:tags r:id="rId17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23" userDrawn="1">
          <p15:clr>
            <a:srgbClr val="A4A3A4"/>
          </p15:clr>
        </p15:guide>
        <p15:guide id="2" pos="7355" userDrawn="1">
          <p15:clr>
            <a:srgbClr val="A4A3A4"/>
          </p15:clr>
        </p15:guide>
        <p15:guide id="3" pos="325" userDrawn="1">
          <p15:clr>
            <a:srgbClr val="A4A3A4"/>
          </p15:clr>
        </p15:guide>
        <p15:guide id="4" orient="horz" pos="3997" userDrawn="1">
          <p15:clr>
            <a:srgbClr val="A4A3A4"/>
          </p15:clr>
        </p15:guide>
        <p15:guide id="5" orient="horz" pos="127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rruego, Xavier" initials="AX" lastIdx="9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71121"/>
    <a:srgbClr val="5F6062"/>
    <a:srgbClr val="EAEAEB"/>
    <a:srgbClr val="D8D9D9"/>
    <a:srgbClr val="E9E9EA"/>
    <a:srgbClr val="A9ABA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79D9074-1E99-29DC-1A5D-50160C58E082}" v="22" dt="2021-11-29T20:46:26.397"/>
    <p1510:client id="{6D454C01-2E4B-132B-D990-05FD285FF790}" v="156" dt="2024-01-02T20:22:21.688"/>
    <p1510:client id="{7ABFB179-3C3F-A428-BDF5-758961605DD1}" v="62" dt="2023-11-28T12:21:39.503"/>
    <p1510:client id="{B430AD91-D131-484A-BBBB-7254F601A84C}" v="13" dt="2021-11-29T01:11:29.149"/>
    <p1510:client id="{EB547A6D-8535-D193-F852-37EAF89E4268}" v="161" dt="2022-06-30T14:57:40.511"/>
    <p1510:client id="{EFA4D2BC-816B-40B7-8F92-77B9D2746E43}" v="13" dt="2021-11-29T12:20:37.05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enhum Estilo, Nenhuma Grad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8EC20E35-A176-4012-BC5E-935CFFF8708E}" styleName="Estilo Médio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7188" autoAdjust="0"/>
    <p:restoredTop sz="94712"/>
  </p:normalViewPr>
  <p:slideViewPr>
    <p:cSldViewPr snapToGrid="0" snapToObjects="1">
      <p:cViewPr varScale="1">
        <p:scale>
          <a:sx n="81" d="100"/>
          <a:sy n="81" d="100"/>
        </p:scale>
        <p:origin x="343" y="72"/>
      </p:cViewPr>
      <p:guideLst>
        <p:guide orient="horz" pos="323"/>
        <p:guide pos="7355"/>
        <p:guide pos="325"/>
        <p:guide orient="horz" pos="3997"/>
        <p:guide orient="horz" pos="1275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napToObjects="1">
      <p:cViewPr varScale="1">
        <p:scale>
          <a:sx n="51" d="100"/>
          <a:sy n="51" d="100"/>
        </p:scale>
        <p:origin x="2692" y="2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23" Type="http://schemas.microsoft.com/office/2016/11/relationships/changesInfo" Target="changesInfos/changesInfo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ilva, Emillyn" userId="S::emillyn.silva@agcocorp.com::49548146-fcc1-4195-bf2d-b738a6cccee1" providerId="AD" clId="Web-{7ABFB179-3C3F-A428-BDF5-758961605DD1}"/>
    <pc:docChg chg="addSld delSld modSld sldOrd">
      <pc:chgData name="Silva, Emillyn" userId="S::emillyn.silva@agcocorp.com::49548146-fcc1-4195-bf2d-b738a6cccee1" providerId="AD" clId="Web-{7ABFB179-3C3F-A428-BDF5-758961605DD1}" dt="2023-11-28T12:21:39.503" v="33"/>
      <pc:docMkLst>
        <pc:docMk/>
      </pc:docMkLst>
      <pc:sldChg chg="delSp modSp add ord replId">
        <pc:chgData name="Silva, Emillyn" userId="S::emillyn.silva@agcocorp.com::49548146-fcc1-4195-bf2d-b738a6cccee1" providerId="AD" clId="Web-{7ABFB179-3C3F-A428-BDF5-758961605DD1}" dt="2023-11-28T12:21:37.534" v="32"/>
        <pc:sldMkLst>
          <pc:docMk/>
          <pc:sldMk cId="2155167961" sldId="2145706284"/>
        </pc:sldMkLst>
        <pc:spChg chg="mod">
          <ac:chgData name="Silva, Emillyn" userId="S::emillyn.silva@agcocorp.com::49548146-fcc1-4195-bf2d-b738a6cccee1" providerId="AD" clId="Web-{7ABFB179-3C3F-A428-BDF5-758961605DD1}" dt="2023-11-28T12:20:44.939" v="24" actId="20577"/>
          <ac:spMkLst>
            <pc:docMk/>
            <pc:sldMk cId="2155167961" sldId="2145706284"/>
            <ac:spMk id="34" creationId="{43B56EEB-A5DF-BAB0-7DAA-9AF70A1B9B80}"/>
          </ac:spMkLst>
        </pc:spChg>
        <pc:grpChg chg="del">
          <ac:chgData name="Silva, Emillyn" userId="S::emillyn.silva@agcocorp.com::49548146-fcc1-4195-bf2d-b738a6cccee1" providerId="AD" clId="Web-{7ABFB179-3C3F-A428-BDF5-758961605DD1}" dt="2023-11-28T12:21:37.534" v="32"/>
          <ac:grpSpMkLst>
            <pc:docMk/>
            <pc:sldMk cId="2155167961" sldId="2145706284"/>
            <ac:grpSpMk id="7" creationId="{26E7956A-4967-42CF-AD6B-32E788CBD918}"/>
          </ac:grpSpMkLst>
        </pc:grpChg>
      </pc:sldChg>
      <pc:sldChg chg="delSp add replId">
        <pc:chgData name="Silva, Emillyn" userId="S::emillyn.silva@agcocorp.com::49548146-fcc1-4195-bf2d-b738a6cccee1" providerId="AD" clId="Web-{7ABFB179-3C3F-A428-BDF5-758961605DD1}" dt="2023-11-28T12:21:39.503" v="33"/>
        <pc:sldMkLst>
          <pc:docMk/>
          <pc:sldMk cId="1582515649" sldId="2145706285"/>
        </pc:sldMkLst>
        <pc:grpChg chg="del">
          <ac:chgData name="Silva, Emillyn" userId="S::emillyn.silva@agcocorp.com::49548146-fcc1-4195-bf2d-b738a6cccee1" providerId="AD" clId="Web-{7ABFB179-3C3F-A428-BDF5-758961605DD1}" dt="2023-11-28T12:21:39.503" v="33"/>
          <ac:grpSpMkLst>
            <pc:docMk/>
            <pc:sldMk cId="1582515649" sldId="2145706285"/>
            <ac:grpSpMk id="7" creationId="{26E7956A-4967-42CF-AD6B-32E788CBD918}"/>
          </ac:grpSpMkLst>
        </pc:grpChg>
      </pc:sldChg>
      <pc:sldChg chg="add del replId">
        <pc:chgData name="Silva, Emillyn" userId="S::emillyn.silva@agcocorp.com::49548146-fcc1-4195-bf2d-b738a6cccee1" providerId="AD" clId="Web-{7ABFB179-3C3F-A428-BDF5-758961605DD1}" dt="2023-11-28T12:21:09.861" v="26"/>
        <pc:sldMkLst>
          <pc:docMk/>
          <pc:sldMk cId="3426414636" sldId="2145706285"/>
        </pc:sldMkLst>
      </pc:sldChg>
      <pc:sldChg chg="delSp modSp add replId">
        <pc:chgData name="Silva, Emillyn" userId="S::emillyn.silva@agcocorp.com::49548146-fcc1-4195-bf2d-b738a6cccee1" providerId="AD" clId="Web-{7ABFB179-3C3F-A428-BDF5-758961605DD1}" dt="2023-11-28T12:21:35.159" v="31"/>
        <pc:sldMkLst>
          <pc:docMk/>
          <pc:sldMk cId="100286030" sldId="2145706286"/>
        </pc:sldMkLst>
        <pc:spChg chg="mod">
          <ac:chgData name="Silva, Emillyn" userId="S::emillyn.silva@agcocorp.com::49548146-fcc1-4195-bf2d-b738a6cccee1" providerId="AD" clId="Web-{7ABFB179-3C3F-A428-BDF5-758961605DD1}" dt="2023-11-28T12:21:33.050" v="30" actId="20577"/>
          <ac:spMkLst>
            <pc:docMk/>
            <pc:sldMk cId="100286030" sldId="2145706286"/>
            <ac:spMk id="9" creationId="{30E791E8-BB39-4065-A625-58B69D85668E}"/>
          </ac:spMkLst>
        </pc:spChg>
        <pc:grpChg chg="del">
          <ac:chgData name="Silva, Emillyn" userId="S::emillyn.silva@agcocorp.com::49548146-fcc1-4195-bf2d-b738a6cccee1" providerId="AD" clId="Web-{7ABFB179-3C3F-A428-BDF5-758961605DD1}" dt="2023-11-28T12:21:35.159" v="31"/>
          <ac:grpSpMkLst>
            <pc:docMk/>
            <pc:sldMk cId="100286030" sldId="2145706286"/>
            <ac:grpSpMk id="7" creationId="{26E7956A-4967-42CF-AD6B-32E788CBD918}"/>
          </ac:grpSpMkLst>
        </pc:grpChg>
      </pc:sldChg>
    </pc:docChg>
  </pc:docChgLst>
  <pc:docChgLst>
    <pc:chgData name="Chaves, Laura" userId="S::laura.chaves@agcocorp.com::4bd15728-55b2-410b-b0d8-28672ac145c6" providerId="AD" clId="Web-{6D454C01-2E4B-132B-D990-05FD285FF790}"/>
    <pc:docChg chg="modSld">
      <pc:chgData name="Chaves, Laura" userId="S::laura.chaves@agcocorp.com::4bd15728-55b2-410b-b0d8-28672ac145c6" providerId="AD" clId="Web-{6D454C01-2E4B-132B-D990-05FD285FF790}" dt="2024-01-02T20:22:20.454" v="93" actId="20577"/>
      <pc:docMkLst>
        <pc:docMk/>
      </pc:docMkLst>
      <pc:sldChg chg="modSp">
        <pc:chgData name="Chaves, Laura" userId="S::laura.chaves@agcocorp.com::4bd15728-55b2-410b-b0d8-28672ac145c6" providerId="AD" clId="Web-{6D454C01-2E4B-132B-D990-05FD285FF790}" dt="2024-01-02T20:16:47.041" v="3"/>
        <pc:sldMkLst>
          <pc:docMk/>
          <pc:sldMk cId="3144833853" sldId="2145706274"/>
        </pc:sldMkLst>
        <pc:graphicFrameChg chg="mod modGraphic">
          <ac:chgData name="Chaves, Laura" userId="S::laura.chaves@agcocorp.com::4bd15728-55b2-410b-b0d8-28672ac145c6" providerId="AD" clId="Web-{6D454C01-2E4B-132B-D990-05FD285FF790}" dt="2024-01-02T20:16:47.041" v="3"/>
          <ac:graphicFrameMkLst>
            <pc:docMk/>
            <pc:sldMk cId="3144833853" sldId="2145706274"/>
            <ac:graphicFrameMk id="9" creationId="{CB0698A4-27BD-49A2-8032-D987B1BB640F}"/>
          </ac:graphicFrameMkLst>
        </pc:graphicFrameChg>
      </pc:sldChg>
      <pc:sldChg chg="modSp">
        <pc:chgData name="Chaves, Laura" userId="S::laura.chaves@agcocorp.com::4bd15728-55b2-410b-b0d8-28672ac145c6" providerId="AD" clId="Web-{6D454C01-2E4B-132B-D990-05FD285FF790}" dt="2024-01-02T20:20:43.452" v="48"/>
        <pc:sldMkLst>
          <pc:docMk/>
          <pc:sldMk cId="3927926856" sldId="2145706281"/>
        </pc:sldMkLst>
        <pc:graphicFrameChg chg="mod modGraphic">
          <ac:chgData name="Chaves, Laura" userId="S::laura.chaves@agcocorp.com::4bd15728-55b2-410b-b0d8-28672ac145c6" providerId="AD" clId="Web-{6D454C01-2E4B-132B-D990-05FD285FF790}" dt="2024-01-02T20:20:43.452" v="48"/>
          <ac:graphicFrameMkLst>
            <pc:docMk/>
            <pc:sldMk cId="3927926856" sldId="2145706281"/>
            <ac:graphicFrameMk id="9" creationId="{CB0698A4-27BD-49A2-8032-D987B1BB640F}"/>
          </ac:graphicFrameMkLst>
        </pc:graphicFrameChg>
      </pc:sldChg>
      <pc:sldChg chg="addSp delSp modSp">
        <pc:chgData name="Chaves, Laura" userId="S::laura.chaves@agcocorp.com::4bd15728-55b2-410b-b0d8-28672ac145c6" providerId="AD" clId="Web-{6D454C01-2E4B-132B-D990-05FD285FF790}" dt="2024-01-02T20:21:30.469" v="65"/>
        <pc:sldMkLst>
          <pc:docMk/>
          <pc:sldMk cId="1522587683" sldId="2145706282"/>
        </pc:sldMkLst>
        <pc:graphicFrameChg chg="add">
          <ac:chgData name="Chaves, Laura" userId="S::laura.chaves@agcocorp.com::4bd15728-55b2-410b-b0d8-28672ac145c6" providerId="AD" clId="Web-{6D454C01-2E4B-132B-D990-05FD285FF790}" dt="2024-01-02T20:21:30.469" v="65"/>
          <ac:graphicFrameMkLst>
            <pc:docMk/>
            <pc:sldMk cId="1522587683" sldId="2145706282"/>
            <ac:graphicFrameMk id="4" creationId="{CF198B4E-42CD-4051-C350-37798D975AAC}"/>
          </ac:graphicFrameMkLst>
        </pc:graphicFrameChg>
        <pc:graphicFrameChg chg="del mod modGraphic">
          <ac:chgData name="Chaves, Laura" userId="S::laura.chaves@agcocorp.com::4bd15728-55b2-410b-b0d8-28672ac145c6" providerId="AD" clId="Web-{6D454C01-2E4B-132B-D990-05FD285FF790}" dt="2024-01-02T20:21:28.984" v="64"/>
          <ac:graphicFrameMkLst>
            <pc:docMk/>
            <pc:sldMk cId="1522587683" sldId="2145706282"/>
            <ac:graphicFrameMk id="9" creationId="{CB0698A4-27BD-49A2-8032-D987B1BB640F}"/>
          </ac:graphicFrameMkLst>
        </pc:graphicFrameChg>
      </pc:sldChg>
      <pc:sldChg chg="addSp delSp modSp">
        <pc:chgData name="Chaves, Laura" userId="S::laura.chaves@agcocorp.com::4bd15728-55b2-410b-b0d8-28672ac145c6" providerId="AD" clId="Web-{6D454C01-2E4B-132B-D990-05FD285FF790}" dt="2024-01-02T20:21:34.719" v="67"/>
        <pc:sldMkLst>
          <pc:docMk/>
          <pc:sldMk cId="1799132301" sldId="2145706283"/>
        </pc:sldMkLst>
        <pc:graphicFrameChg chg="add">
          <ac:chgData name="Chaves, Laura" userId="S::laura.chaves@agcocorp.com::4bd15728-55b2-410b-b0d8-28672ac145c6" providerId="AD" clId="Web-{6D454C01-2E4B-132B-D990-05FD285FF790}" dt="2024-01-02T20:21:34.719" v="67"/>
          <ac:graphicFrameMkLst>
            <pc:docMk/>
            <pc:sldMk cId="1799132301" sldId="2145706283"/>
            <ac:graphicFrameMk id="4" creationId="{DA707A2A-916D-55E8-3FE6-D8C4DEA5B99F}"/>
          </ac:graphicFrameMkLst>
        </pc:graphicFrameChg>
        <pc:graphicFrameChg chg="del mod modGraphic">
          <ac:chgData name="Chaves, Laura" userId="S::laura.chaves@agcocorp.com::4bd15728-55b2-410b-b0d8-28672ac145c6" providerId="AD" clId="Web-{6D454C01-2E4B-132B-D990-05FD285FF790}" dt="2024-01-02T20:21:33.562" v="66"/>
          <ac:graphicFrameMkLst>
            <pc:docMk/>
            <pc:sldMk cId="1799132301" sldId="2145706283"/>
            <ac:graphicFrameMk id="9" creationId="{CB0698A4-27BD-49A2-8032-D987B1BB640F}"/>
          </ac:graphicFrameMkLst>
        </pc:graphicFrameChg>
      </pc:sldChg>
      <pc:sldChg chg="modSp">
        <pc:chgData name="Chaves, Laura" userId="S::laura.chaves@agcocorp.com::4bd15728-55b2-410b-b0d8-28672ac145c6" providerId="AD" clId="Web-{6D454C01-2E4B-132B-D990-05FD285FF790}" dt="2024-01-02T20:22:14.532" v="89" actId="20577"/>
        <pc:sldMkLst>
          <pc:docMk/>
          <pc:sldMk cId="2155167961" sldId="2145706284"/>
        </pc:sldMkLst>
        <pc:spChg chg="mod">
          <ac:chgData name="Chaves, Laura" userId="S::laura.chaves@agcocorp.com::4bd15728-55b2-410b-b0d8-28672ac145c6" providerId="AD" clId="Web-{6D454C01-2E4B-132B-D990-05FD285FF790}" dt="2024-01-02T20:22:14.532" v="89" actId="20577"/>
          <ac:spMkLst>
            <pc:docMk/>
            <pc:sldMk cId="2155167961" sldId="2145706284"/>
            <ac:spMk id="34" creationId="{43B56EEB-A5DF-BAB0-7DAA-9AF70A1B9B80}"/>
          </ac:spMkLst>
        </pc:spChg>
      </pc:sldChg>
      <pc:sldChg chg="modSp">
        <pc:chgData name="Chaves, Laura" userId="S::laura.chaves@agcocorp.com::4bd15728-55b2-410b-b0d8-28672ac145c6" providerId="AD" clId="Web-{6D454C01-2E4B-132B-D990-05FD285FF790}" dt="2024-01-02T20:22:17.845" v="91" actId="20577"/>
        <pc:sldMkLst>
          <pc:docMk/>
          <pc:sldMk cId="1582515649" sldId="2145706285"/>
        </pc:sldMkLst>
        <pc:spChg chg="mod">
          <ac:chgData name="Chaves, Laura" userId="S::laura.chaves@agcocorp.com::4bd15728-55b2-410b-b0d8-28672ac145c6" providerId="AD" clId="Web-{6D454C01-2E4B-132B-D990-05FD285FF790}" dt="2024-01-02T20:22:17.845" v="91" actId="20577"/>
          <ac:spMkLst>
            <pc:docMk/>
            <pc:sldMk cId="1582515649" sldId="2145706285"/>
            <ac:spMk id="34" creationId="{43B56EEB-A5DF-BAB0-7DAA-9AF70A1B9B80}"/>
          </ac:spMkLst>
        </pc:spChg>
      </pc:sldChg>
      <pc:sldChg chg="modSp">
        <pc:chgData name="Chaves, Laura" userId="S::laura.chaves@agcocorp.com::4bd15728-55b2-410b-b0d8-28672ac145c6" providerId="AD" clId="Web-{6D454C01-2E4B-132B-D990-05FD285FF790}" dt="2024-01-02T20:22:20.454" v="93" actId="20577"/>
        <pc:sldMkLst>
          <pc:docMk/>
          <pc:sldMk cId="100286030" sldId="2145706286"/>
        </pc:sldMkLst>
        <pc:spChg chg="mod">
          <ac:chgData name="Chaves, Laura" userId="S::laura.chaves@agcocorp.com::4bd15728-55b2-410b-b0d8-28672ac145c6" providerId="AD" clId="Web-{6D454C01-2E4B-132B-D990-05FD285FF790}" dt="2024-01-02T20:22:20.454" v="93" actId="20577"/>
          <ac:spMkLst>
            <pc:docMk/>
            <pc:sldMk cId="100286030" sldId="2145706286"/>
            <ac:spMk id="34" creationId="{43B56EEB-A5DF-BAB0-7DAA-9AF70A1B9B80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>
            <a:extLst>
              <a:ext uri="{FF2B5EF4-FFF2-40B4-BE49-F238E27FC236}">
                <a16:creationId xmlns:a16="http://schemas.microsoft.com/office/drawing/2014/main" id="{E40D61E8-D63C-9ECF-B65F-5C86083626C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71E3F904-E295-B8B9-47AB-6124E74E1CC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928C3A0-77F5-4D5D-9452-CEF05DB0AEF0}" type="datetimeFigureOut">
              <a:rPr lang="pt-BR" smtClean="0"/>
              <a:t>28/06/2024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3CD31261-EF4F-A22C-EF49-0C87FE5465EB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7BE4FF97-B4C4-D319-86FC-7F1F1D70519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450DDA0-6C9E-4471-AECA-9626C8403C1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2642701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45CF4A3-B989-5F46-A20F-4383C899BAB2}" type="datetimeFigureOut">
              <a:rPr lang="en-US" smtClean="0"/>
              <a:t>6/28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00C0E06-6E19-F24D-8A32-6F5A15DCC901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80446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2E533F-3811-4148-A6A1-EDB604BADED4}" type="datetimeFigureOut">
              <a:rPr lang="en-US" smtClean="0"/>
              <a:t>6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DEC599-EC6B-9442-AD54-0FCFDA8951DA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188657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2E533F-3811-4148-A6A1-EDB604BADED4}" type="datetimeFigureOut">
              <a:rPr lang="en-US" smtClean="0"/>
              <a:t>6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DEC599-EC6B-9442-AD54-0FCFDA8951DA}" type="slidenum">
              <a:rPr lang="en-US" smtClean="0"/>
              <a:t>‹nº›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E016CD1-7F23-E043-AD6C-04FA5B5FED7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Freeform 15">
            <a:extLst>
              <a:ext uri="{FF2B5EF4-FFF2-40B4-BE49-F238E27FC236}">
                <a16:creationId xmlns:a16="http://schemas.microsoft.com/office/drawing/2014/main" id="{46546549-6BD7-CF40-ACE0-C976E2E899A3}"/>
              </a:ext>
            </a:extLst>
          </p:cNvPr>
          <p:cNvSpPr/>
          <p:nvPr userDrawn="1"/>
        </p:nvSpPr>
        <p:spPr>
          <a:xfrm>
            <a:off x="-480134" y="-340029"/>
            <a:ext cx="8070368" cy="6510370"/>
          </a:xfrm>
          <a:custGeom>
            <a:avLst/>
            <a:gdLst>
              <a:gd name="connsiteX0" fmla="*/ 7818120 w 7818120"/>
              <a:gd name="connsiteY0" fmla="*/ 0 h 6195060"/>
              <a:gd name="connsiteX1" fmla="*/ 3131820 w 7818120"/>
              <a:gd name="connsiteY1" fmla="*/ 6195060 h 6195060"/>
              <a:gd name="connsiteX2" fmla="*/ 0 w 7818120"/>
              <a:gd name="connsiteY2" fmla="*/ 2057400 h 6195060"/>
              <a:gd name="connsiteX3" fmla="*/ 0 w 7818120"/>
              <a:gd name="connsiteY3" fmla="*/ 2057400 h 6195060"/>
              <a:gd name="connsiteX0" fmla="*/ 8070368 w 8070368"/>
              <a:gd name="connsiteY0" fmla="*/ 0 h 6510370"/>
              <a:gd name="connsiteX1" fmla="*/ 3131820 w 8070368"/>
              <a:gd name="connsiteY1" fmla="*/ 6510370 h 6510370"/>
              <a:gd name="connsiteX2" fmla="*/ 0 w 8070368"/>
              <a:gd name="connsiteY2" fmla="*/ 2372710 h 6510370"/>
              <a:gd name="connsiteX3" fmla="*/ 0 w 8070368"/>
              <a:gd name="connsiteY3" fmla="*/ 2372710 h 65103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070368" h="6510370">
                <a:moveTo>
                  <a:pt x="8070368" y="0"/>
                </a:moveTo>
                <a:lnTo>
                  <a:pt x="3131820" y="6510370"/>
                </a:lnTo>
                <a:lnTo>
                  <a:pt x="0" y="2372710"/>
                </a:lnTo>
                <a:lnTo>
                  <a:pt x="0" y="2372710"/>
                </a:lnTo>
              </a:path>
            </a:pathLst>
          </a:custGeom>
          <a:noFill/>
          <a:ln w="374650">
            <a:solidFill>
              <a:srgbClr val="C7112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2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7ED55AB0-05E3-416A-A880-93FB322E13A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88567" y="4935636"/>
            <a:ext cx="4381854" cy="1409600"/>
          </a:xfrm>
          <a:prstGeom prst="rect">
            <a:avLst/>
          </a:prstGeom>
        </p:spPr>
      </p:pic>
      <p:pic>
        <p:nvPicPr>
          <p:cNvPr id="10" name="Image 2">
            <a:extLst>
              <a:ext uri="{FF2B5EF4-FFF2-40B4-BE49-F238E27FC236}">
                <a16:creationId xmlns:a16="http://schemas.microsoft.com/office/drawing/2014/main" id="{CE8D023A-C292-4FE9-856C-6C73463BE1C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07307" y="3770376"/>
            <a:ext cx="1165904" cy="1165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76034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">
            <a:extLst>
              <a:ext uri="{FF2B5EF4-FFF2-40B4-BE49-F238E27FC236}">
                <a16:creationId xmlns:a16="http://schemas.microsoft.com/office/drawing/2014/main" id="{6F4C6170-DEAD-E446-AB7D-0742B390567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5F6062">
              <a:alpha val="24715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Freeform 11">
            <a:extLst>
              <a:ext uri="{FF2B5EF4-FFF2-40B4-BE49-F238E27FC236}">
                <a16:creationId xmlns:a16="http://schemas.microsoft.com/office/drawing/2014/main" id="{1B9CC002-CA54-A149-87DD-E862EE0F0A3A}"/>
              </a:ext>
            </a:extLst>
          </p:cNvPr>
          <p:cNvSpPr/>
          <p:nvPr userDrawn="1"/>
        </p:nvSpPr>
        <p:spPr>
          <a:xfrm>
            <a:off x="-933270" y="700085"/>
            <a:ext cx="12372976" cy="7486650"/>
          </a:xfrm>
          <a:custGeom>
            <a:avLst/>
            <a:gdLst>
              <a:gd name="connsiteX0" fmla="*/ 6829426 w 12372976"/>
              <a:gd name="connsiteY0" fmla="*/ 7486650 h 7486650"/>
              <a:gd name="connsiteX1" fmla="*/ 12372976 w 12372976"/>
              <a:gd name="connsiteY1" fmla="*/ 0 h 7486650"/>
              <a:gd name="connsiteX2" fmla="*/ 0 w 12372976"/>
              <a:gd name="connsiteY2" fmla="*/ 0 h 7486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372976" h="7486650">
                <a:moveTo>
                  <a:pt x="6829426" y="7486650"/>
                </a:moveTo>
                <a:lnTo>
                  <a:pt x="12372976" y="0"/>
                </a:lnTo>
                <a:lnTo>
                  <a:pt x="0" y="0"/>
                </a:lnTo>
              </a:path>
            </a:pathLst>
          </a:custGeom>
          <a:noFill/>
          <a:ln w="374650">
            <a:solidFill>
              <a:srgbClr val="C7112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15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E833C0C4-19EF-4B53-845B-23EFDA0CCC0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98933" y="5228492"/>
            <a:ext cx="3471488" cy="11167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5811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>
            <a:extLst>
              <a:ext uri="{FF2B5EF4-FFF2-40B4-BE49-F238E27FC236}">
                <a16:creationId xmlns:a16="http://schemas.microsoft.com/office/drawing/2014/main" id="{7DEF2046-566A-9648-8641-AB255283704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C711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Freeform 10">
            <a:extLst>
              <a:ext uri="{FF2B5EF4-FFF2-40B4-BE49-F238E27FC236}">
                <a16:creationId xmlns:a16="http://schemas.microsoft.com/office/drawing/2014/main" id="{53198BD6-FF1A-8445-93DB-795B089BA6E9}"/>
              </a:ext>
            </a:extLst>
          </p:cNvPr>
          <p:cNvSpPr/>
          <p:nvPr userDrawn="1"/>
        </p:nvSpPr>
        <p:spPr>
          <a:xfrm>
            <a:off x="-878679" y="700085"/>
            <a:ext cx="12372976" cy="7486650"/>
          </a:xfrm>
          <a:custGeom>
            <a:avLst/>
            <a:gdLst>
              <a:gd name="connsiteX0" fmla="*/ 6829426 w 12372976"/>
              <a:gd name="connsiteY0" fmla="*/ 7486650 h 7486650"/>
              <a:gd name="connsiteX1" fmla="*/ 12372976 w 12372976"/>
              <a:gd name="connsiteY1" fmla="*/ 0 h 7486650"/>
              <a:gd name="connsiteX2" fmla="*/ 0 w 12372976"/>
              <a:gd name="connsiteY2" fmla="*/ 0 h 7486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372976" h="7486650">
                <a:moveTo>
                  <a:pt x="6829426" y="7486650"/>
                </a:moveTo>
                <a:lnTo>
                  <a:pt x="12372976" y="0"/>
                </a:lnTo>
                <a:lnTo>
                  <a:pt x="0" y="0"/>
                </a:lnTo>
              </a:path>
            </a:pathLst>
          </a:custGeom>
          <a:noFill/>
          <a:ln w="374650">
            <a:solidFill>
              <a:schemeClr val="bg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0" name="Group 1">
            <a:extLst>
              <a:ext uri="{FF2B5EF4-FFF2-40B4-BE49-F238E27FC236}">
                <a16:creationId xmlns:a16="http://schemas.microsoft.com/office/drawing/2014/main" id="{9865EE74-4A74-461F-A421-12E75B9BE47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234678" y="5112080"/>
            <a:ext cx="3470400" cy="1116395"/>
            <a:chOff x="7288568" y="4935636"/>
            <a:chExt cx="4381852" cy="1409600"/>
          </a:xfrm>
        </p:grpSpPr>
        <p:pic>
          <p:nvPicPr>
            <p:cNvPr id="11" name="Picture 8">
              <a:extLst>
                <a:ext uri="{FF2B5EF4-FFF2-40B4-BE49-F238E27FC236}">
                  <a16:creationId xmlns:a16="http://schemas.microsoft.com/office/drawing/2014/main" id="{6F9A6C89-AEB3-48F8-B556-9D6C700A1FF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288568" y="5185189"/>
              <a:ext cx="1903760" cy="910494"/>
            </a:xfrm>
            <a:prstGeom prst="rect">
              <a:avLst/>
            </a:prstGeom>
          </p:spPr>
        </p:pic>
        <p:pic>
          <p:nvPicPr>
            <p:cNvPr id="12" name="Picture 16" descr="Graphical user interface, application&#10;&#10;Description automatically generated">
              <a:extLst>
                <a:ext uri="{FF2B5EF4-FFF2-40B4-BE49-F238E27FC236}">
                  <a16:creationId xmlns:a16="http://schemas.microsoft.com/office/drawing/2014/main" id="{6BCA1F30-0C82-4AA9-8A6E-C707511B6A2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328825" y="4935636"/>
              <a:ext cx="2341595" cy="14096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3539615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1">
            <a:extLst>
              <a:ext uri="{FF2B5EF4-FFF2-40B4-BE49-F238E27FC236}">
                <a16:creationId xmlns:a16="http://schemas.microsoft.com/office/drawing/2014/main" id="{6F4C6170-DEAD-E446-AB7D-0742B390567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AEA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1" name="Picture 7">
            <a:extLst>
              <a:ext uri="{FF2B5EF4-FFF2-40B4-BE49-F238E27FC236}">
                <a16:creationId xmlns:a16="http://schemas.microsoft.com/office/drawing/2014/main" id="{DB92ED19-4E9C-6543-9F3A-8B93DDA7C2F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617204" y="5841527"/>
            <a:ext cx="1053213" cy="503710"/>
          </a:xfrm>
          <a:prstGeom prst="rect">
            <a:avLst/>
          </a:prstGeom>
        </p:spPr>
      </p:pic>
      <p:cxnSp>
        <p:nvCxnSpPr>
          <p:cNvPr id="12" name="Straight Connector 13">
            <a:extLst>
              <a:ext uri="{FF2B5EF4-FFF2-40B4-BE49-F238E27FC236}">
                <a16:creationId xmlns:a16="http://schemas.microsoft.com/office/drawing/2014/main" id="{DA340557-7B16-224E-BA61-15A06B49CFD4}"/>
              </a:ext>
            </a:extLst>
          </p:cNvPr>
          <p:cNvCxnSpPr>
            <a:cxnSpLocks/>
          </p:cNvCxnSpPr>
          <p:nvPr userDrawn="1"/>
        </p:nvCxnSpPr>
        <p:spPr>
          <a:xfrm>
            <a:off x="6711043" y="6345237"/>
            <a:ext cx="3779157" cy="0"/>
          </a:xfrm>
          <a:prstGeom prst="line">
            <a:avLst/>
          </a:prstGeom>
          <a:ln w="9525">
            <a:solidFill>
              <a:srgbClr val="5F606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Freeform 19">
            <a:extLst>
              <a:ext uri="{FF2B5EF4-FFF2-40B4-BE49-F238E27FC236}">
                <a16:creationId xmlns:a16="http://schemas.microsoft.com/office/drawing/2014/main" id="{A4B07EAF-3072-46B9-872B-FFEDA2036F5D}"/>
              </a:ext>
            </a:extLst>
          </p:cNvPr>
          <p:cNvSpPr/>
          <p:nvPr userDrawn="1"/>
        </p:nvSpPr>
        <p:spPr>
          <a:xfrm flipH="1">
            <a:off x="6208192" y="-4746821"/>
            <a:ext cx="7818120" cy="6195060"/>
          </a:xfrm>
          <a:custGeom>
            <a:avLst/>
            <a:gdLst>
              <a:gd name="connsiteX0" fmla="*/ 7818120 w 7818120"/>
              <a:gd name="connsiteY0" fmla="*/ 0 h 6195060"/>
              <a:gd name="connsiteX1" fmla="*/ 3131820 w 7818120"/>
              <a:gd name="connsiteY1" fmla="*/ 6195060 h 6195060"/>
              <a:gd name="connsiteX2" fmla="*/ 0 w 7818120"/>
              <a:gd name="connsiteY2" fmla="*/ 2057400 h 6195060"/>
              <a:gd name="connsiteX3" fmla="*/ 0 w 7818120"/>
              <a:gd name="connsiteY3" fmla="*/ 2057400 h 61950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818120" h="6195060">
                <a:moveTo>
                  <a:pt x="7818120" y="0"/>
                </a:moveTo>
                <a:lnTo>
                  <a:pt x="3131820" y="6195060"/>
                </a:lnTo>
                <a:lnTo>
                  <a:pt x="0" y="2057400"/>
                </a:lnTo>
                <a:lnTo>
                  <a:pt x="0" y="2057400"/>
                </a:lnTo>
              </a:path>
            </a:pathLst>
          </a:custGeom>
          <a:noFill/>
          <a:ln w="374650">
            <a:solidFill>
              <a:srgbClr val="C7112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9008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1">
            <a:extLst>
              <a:ext uri="{FF2B5EF4-FFF2-40B4-BE49-F238E27FC236}">
                <a16:creationId xmlns:a16="http://schemas.microsoft.com/office/drawing/2014/main" id="{5CDD82E5-3516-9248-9954-DF197CBD8ED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5F60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1FA6D245-A498-9C45-A1D5-37DDF1748237}"/>
              </a:ext>
            </a:extLst>
          </p:cNvPr>
          <p:cNvSpPr/>
          <p:nvPr userDrawn="1"/>
        </p:nvSpPr>
        <p:spPr>
          <a:xfrm flipH="1">
            <a:off x="6519588" y="701722"/>
            <a:ext cx="12372976" cy="7486650"/>
          </a:xfrm>
          <a:custGeom>
            <a:avLst/>
            <a:gdLst>
              <a:gd name="connsiteX0" fmla="*/ 6829426 w 12372976"/>
              <a:gd name="connsiteY0" fmla="*/ 7486650 h 7486650"/>
              <a:gd name="connsiteX1" fmla="*/ 12372976 w 12372976"/>
              <a:gd name="connsiteY1" fmla="*/ 0 h 7486650"/>
              <a:gd name="connsiteX2" fmla="*/ 0 w 12372976"/>
              <a:gd name="connsiteY2" fmla="*/ 0 h 7486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372976" h="7486650">
                <a:moveTo>
                  <a:pt x="6829426" y="7486650"/>
                </a:moveTo>
                <a:lnTo>
                  <a:pt x="12372976" y="0"/>
                </a:lnTo>
                <a:lnTo>
                  <a:pt x="0" y="0"/>
                </a:lnTo>
              </a:path>
            </a:pathLst>
          </a:custGeom>
          <a:noFill/>
          <a:ln w="374650">
            <a:solidFill>
              <a:srgbClr val="C7112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8" name="Straight Connector 10">
            <a:extLst>
              <a:ext uri="{FF2B5EF4-FFF2-40B4-BE49-F238E27FC236}">
                <a16:creationId xmlns:a16="http://schemas.microsoft.com/office/drawing/2014/main" id="{10B8ABCA-BF97-3142-9FA1-05931C4FCF33}"/>
              </a:ext>
            </a:extLst>
          </p:cNvPr>
          <p:cNvCxnSpPr>
            <a:cxnSpLocks/>
          </p:cNvCxnSpPr>
          <p:nvPr userDrawn="1"/>
        </p:nvCxnSpPr>
        <p:spPr>
          <a:xfrm>
            <a:off x="515938" y="6345238"/>
            <a:ext cx="9616034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9266331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1">
            <a:extLst>
              <a:ext uri="{FF2B5EF4-FFF2-40B4-BE49-F238E27FC236}">
                <a16:creationId xmlns:a16="http://schemas.microsoft.com/office/drawing/2014/main" id="{6F4C6170-DEAD-E446-AB7D-0742B390567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5F6062">
              <a:alpha val="24715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Freeform 11">
            <a:extLst>
              <a:ext uri="{FF2B5EF4-FFF2-40B4-BE49-F238E27FC236}">
                <a16:creationId xmlns:a16="http://schemas.microsoft.com/office/drawing/2014/main" id="{1B9CC002-CA54-A149-87DD-E862EE0F0A3A}"/>
              </a:ext>
            </a:extLst>
          </p:cNvPr>
          <p:cNvSpPr/>
          <p:nvPr userDrawn="1"/>
        </p:nvSpPr>
        <p:spPr>
          <a:xfrm>
            <a:off x="-878679" y="700085"/>
            <a:ext cx="12372976" cy="7486650"/>
          </a:xfrm>
          <a:custGeom>
            <a:avLst/>
            <a:gdLst>
              <a:gd name="connsiteX0" fmla="*/ 6829426 w 12372976"/>
              <a:gd name="connsiteY0" fmla="*/ 7486650 h 7486650"/>
              <a:gd name="connsiteX1" fmla="*/ 12372976 w 12372976"/>
              <a:gd name="connsiteY1" fmla="*/ 0 h 7486650"/>
              <a:gd name="connsiteX2" fmla="*/ 0 w 12372976"/>
              <a:gd name="connsiteY2" fmla="*/ 0 h 7486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372976" h="7486650">
                <a:moveTo>
                  <a:pt x="6829426" y="7486650"/>
                </a:moveTo>
                <a:lnTo>
                  <a:pt x="12372976" y="0"/>
                </a:lnTo>
                <a:lnTo>
                  <a:pt x="0" y="0"/>
                </a:lnTo>
              </a:path>
            </a:pathLst>
          </a:custGeom>
          <a:noFill/>
          <a:ln w="374650">
            <a:solidFill>
              <a:srgbClr val="A9ABAE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" name="Straight Connector 10">
            <a:extLst>
              <a:ext uri="{FF2B5EF4-FFF2-40B4-BE49-F238E27FC236}">
                <a16:creationId xmlns:a16="http://schemas.microsoft.com/office/drawing/2014/main" id="{31E716D5-20D3-4930-9C54-92F1E51B94DB}"/>
              </a:ext>
            </a:extLst>
          </p:cNvPr>
          <p:cNvCxnSpPr>
            <a:cxnSpLocks/>
          </p:cNvCxnSpPr>
          <p:nvPr userDrawn="1"/>
        </p:nvCxnSpPr>
        <p:spPr>
          <a:xfrm>
            <a:off x="515938" y="6345238"/>
            <a:ext cx="6352695" cy="0"/>
          </a:xfrm>
          <a:prstGeom prst="line">
            <a:avLst/>
          </a:prstGeom>
          <a:ln w="9525">
            <a:solidFill>
              <a:srgbClr val="5F606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2">
            <a:extLst>
              <a:ext uri="{FF2B5EF4-FFF2-40B4-BE49-F238E27FC236}">
                <a16:creationId xmlns:a16="http://schemas.microsoft.com/office/drawing/2014/main" id="{FF43933F-4F4D-40B2-BB20-A93168B9C9C6}"/>
              </a:ext>
            </a:extLst>
          </p:cNvPr>
          <p:cNvCxnSpPr>
            <a:cxnSpLocks/>
          </p:cNvCxnSpPr>
          <p:nvPr userDrawn="1"/>
        </p:nvCxnSpPr>
        <p:spPr>
          <a:xfrm>
            <a:off x="7676707" y="6345237"/>
            <a:ext cx="1438110" cy="1"/>
          </a:xfrm>
          <a:prstGeom prst="line">
            <a:avLst/>
          </a:prstGeom>
          <a:ln w="9525">
            <a:solidFill>
              <a:srgbClr val="5F606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7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56096DC1-DE1A-4F28-92CB-68899D00DA6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88040" y="5697972"/>
            <a:ext cx="2458327" cy="7908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279614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5">
            <a:extLst>
              <a:ext uri="{FF2B5EF4-FFF2-40B4-BE49-F238E27FC236}">
                <a16:creationId xmlns:a16="http://schemas.microsoft.com/office/drawing/2014/main" id="{892D9F68-3411-42AA-B481-A336882F2BB9}"/>
              </a:ext>
            </a:extLst>
          </p:cNvPr>
          <p:cNvCxnSpPr>
            <a:cxnSpLocks/>
          </p:cNvCxnSpPr>
          <p:nvPr userDrawn="1"/>
        </p:nvCxnSpPr>
        <p:spPr>
          <a:xfrm>
            <a:off x="515938" y="6345238"/>
            <a:ext cx="8657245" cy="0"/>
          </a:xfrm>
          <a:prstGeom prst="line">
            <a:avLst/>
          </a:prstGeom>
          <a:ln w="9525">
            <a:solidFill>
              <a:srgbClr val="5F606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12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3BA0A658-2A7D-433A-982E-9CC9810FB23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88040" y="5697972"/>
            <a:ext cx="2458327" cy="7908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746075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CE016CD1-7F23-E043-AD6C-04FA5B5FED7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Freeform 15">
            <a:extLst>
              <a:ext uri="{FF2B5EF4-FFF2-40B4-BE49-F238E27FC236}">
                <a16:creationId xmlns:a16="http://schemas.microsoft.com/office/drawing/2014/main" id="{46546549-6BD7-CF40-ACE0-C976E2E899A3}"/>
              </a:ext>
            </a:extLst>
          </p:cNvPr>
          <p:cNvSpPr/>
          <p:nvPr userDrawn="1"/>
        </p:nvSpPr>
        <p:spPr>
          <a:xfrm>
            <a:off x="-1282783" y="-775876"/>
            <a:ext cx="7818120" cy="6195060"/>
          </a:xfrm>
          <a:custGeom>
            <a:avLst/>
            <a:gdLst>
              <a:gd name="connsiteX0" fmla="*/ 7818120 w 7818120"/>
              <a:gd name="connsiteY0" fmla="*/ 0 h 6195060"/>
              <a:gd name="connsiteX1" fmla="*/ 3131820 w 7818120"/>
              <a:gd name="connsiteY1" fmla="*/ 6195060 h 6195060"/>
              <a:gd name="connsiteX2" fmla="*/ 0 w 7818120"/>
              <a:gd name="connsiteY2" fmla="*/ 2057400 h 6195060"/>
              <a:gd name="connsiteX3" fmla="*/ 0 w 7818120"/>
              <a:gd name="connsiteY3" fmla="*/ 2057400 h 61950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818120" h="6195060">
                <a:moveTo>
                  <a:pt x="7818120" y="0"/>
                </a:moveTo>
                <a:lnTo>
                  <a:pt x="3131820" y="6195060"/>
                </a:lnTo>
                <a:lnTo>
                  <a:pt x="0" y="2057400"/>
                </a:lnTo>
                <a:lnTo>
                  <a:pt x="0" y="2057400"/>
                </a:lnTo>
              </a:path>
            </a:pathLst>
          </a:custGeom>
          <a:noFill/>
          <a:ln w="374650">
            <a:solidFill>
              <a:srgbClr val="C7112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29195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 7" hidden="1">
            <a:extLst>
              <a:ext uri="{FF2B5EF4-FFF2-40B4-BE49-F238E27FC236}">
                <a16:creationId xmlns:a16="http://schemas.microsoft.com/office/drawing/2014/main" id="{AB7B484B-0908-44C8-A2F9-A46F806BA1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9507248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12" imgW="435" imgH="435" progId="TCLayout.ActiveDocument.1">
                  <p:embed/>
                </p:oleObj>
              </mc:Choice>
              <mc:Fallback>
                <p:oleObj name="Diapositive think-cell" r:id="rId12" imgW="435" imgH="435" progId="TCLayout.ActiveDocument.1">
                  <p:embed/>
                  <p:pic>
                    <p:nvPicPr>
                      <p:cNvPr id="8" name="Objet 7" hidden="1">
                        <a:extLst>
                          <a:ext uri="{FF2B5EF4-FFF2-40B4-BE49-F238E27FC236}">
                            <a16:creationId xmlns:a16="http://schemas.microsoft.com/office/drawing/2014/main" id="{AB7B484B-0908-44C8-A2F9-A46F806BA1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D2E533F-3811-4148-A6A1-EDB604BADED4}" type="datetimeFigureOut">
              <a:rPr lang="en-US" smtClean="0"/>
              <a:t>6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4DEC599-EC6B-9442-AD54-0FCFDA8951DA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57010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8" r:id="rId7"/>
    <p:sldLayoutId id="2147483669" r:id="rId8"/>
    <p:sldLayoutId id="2147483671" r:id="rId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16">
            <a:extLst>
              <a:ext uri="{FF2B5EF4-FFF2-40B4-BE49-F238E27FC236}">
                <a16:creationId xmlns:a16="http://schemas.microsoft.com/office/drawing/2014/main" id="{AF345ED8-98BE-EC4D-96F2-E6EBB2A1A972}"/>
              </a:ext>
            </a:extLst>
          </p:cNvPr>
          <p:cNvSpPr txBox="1"/>
          <p:nvPr/>
        </p:nvSpPr>
        <p:spPr>
          <a:xfrm>
            <a:off x="538515" y="545045"/>
            <a:ext cx="5960276" cy="86177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lang="pt-BR" sz="3200" b="1" dirty="0">
                <a:solidFill>
                  <a:schemeClr val="bg1"/>
                </a:solidFill>
                <a:latin typeface="Arial"/>
                <a:cs typeface="Arial"/>
              </a:rPr>
              <a:t>NOME DA AÇÃO</a:t>
            </a:r>
          </a:p>
          <a:p>
            <a:r>
              <a:rPr lang="pt-BR" sz="2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  <a:cs typeface="Arial"/>
              </a:rPr>
              <a:t>CAMAGRIL</a:t>
            </a:r>
            <a:endParaRPr lang="pt-BR" sz="2400" dirty="0">
              <a:solidFill>
                <a:schemeClr val="tx1">
                  <a:lumMod val="50000"/>
                  <a:lumOff val="50000"/>
                </a:schemeClr>
              </a:solidFill>
              <a:latin typeface="Arial"/>
              <a:cs typeface="Arial"/>
            </a:endParaRPr>
          </a:p>
        </p:txBody>
      </p:sp>
      <p:pic>
        <p:nvPicPr>
          <p:cNvPr id="2" name="Imagem 1" descr="Logotipo, nome da empresa">
            <a:extLst>
              <a:ext uri="{FF2B5EF4-FFF2-40B4-BE49-F238E27FC236}">
                <a16:creationId xmlns:a16="http://schemas.microsoft.com/office/drawing/2014/main" id="{4F72F01D-EB67-0151-74FC-CB14B63AFCE3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93222" y="1463039"/>
            <a:ext cx="831273" cy="9088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570792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 descr="Logotipo, nome da empresa">
            <a:extLst>
              <a:ext uri="{FF2B5EF4-FFF2-40B4-BE49-F238E27FC236}">
                <a16:creationId xmlns:a16="http://schemas.microsoft.com/office/drawing/2014/main" id="{20C5A144-C055-F66A-98B8-B61CB170D8C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561" y="74728"/>
            <a:ext cx="831273" cy="9088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158821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aixaDeTexto 2"/>
          <p:cNvSpPr txBox="1"/>
          <p:nvPr/>
        </p:nvSpPr>
        <p:spPr>
          <a:xfrm>
            <a:off x="-21266" y="470056"/>
            <a:ext cx="330135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400" b="1" dirty="0">
                <a:solidFill>
                  <a:schemeClr val="bg1">
                    <a:lumMod val="9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PLANO COMERCIAL 2024</a:t>
            </a:r>
          </a:p>
        </p:txBody>
      </p:sp>
      <p:graphicFrame>
        <p:nvGraphicFramePr>
          <p:cNvPr id="7" name="Tabel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03699351"/>
              </p:ext>
            </p:extLst>
          </p:nvPr>
        </p:nvGraphicFramePr>
        <p:xfrm>
          <a:off x="507999" y="1559572"/>
          <a:ext cx="7093448" cy="25603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25592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83752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49956">
                <a:tc>
                  <a:txBody>
                    <a:bodyPr/>
                    <a:lstStyle/>
                    <a:p>
                      <a:pPr lvl="0" algn="r">
                        <a:buNone/>
                      </a:pPr>
                      <a:r>
                        <a:rPr lang="pt-BR" sz="12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RENTE RESPONSÁVEL:</a:t>
                      </a:r>
                      <a:endParaRPr lang="pt-BR" sz="12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endParaRPr lang="pt-BR" dirty="0"/>
                    </a:p>
                  </a:txBody>
                  <a:tcP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58253">
                <a:tc>
                  <a:txBody>
                    <a:bodyPr/>
                    <a:lstStyle/>
                    <a:p>
                      <a:pPr lvl="0" algn="r">
                        <a:buNone/>
                      </a:pPr>
                      <a:r>
                        <a:rPr lang="pt-BR" sz="12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ILIAL RESPONÁVEL: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endParaRPr lang="pt-BR" dirty="0"/>
                    </a:p>
                  </a:txBody>
                  <a:tcP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58253">
                <a:tc>
                  <a:txBody>
                    <a:bodyPr/>
                    <a:lstStyle/>
                    <a:p>
                      <a:pPr lvl="0" algn="r">
                        <a:buNone/>
                      </a:pPr>
                      <a:r>
                        <a:rPr lang="pt-BR" sz="12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STADO: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endParaRPr lang="pt-BR" dirty="0"/>
                    </a:p>
                  </a:txBody>
                  <a:tcP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43976926"/>
                  </a:ext>
                </a:extLst>
              </a:tr>
              <a:tr h="358253">
                <a:tc>
                  <a:txBody>
                    <a:bodyPr/>
                    <a:lstStyle/>
                    <a:p>
                      <a:pPr lvl="0" algn="r">
                        <a:buNone/>
                      </a:pPr>
                      <a:r>
                        <a:rPr lang="pt-BR" sz="12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IDADE DO EVENTO: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endParaRPr lang="pt-BR" dirty="0"/>
                    </a:p>
                  </a:txBody>
                  <a:tcP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98391056"/>
                  </a:ext>
                </a:extLst>
              </a:tr>
              <a:tr h="358253">
                <a:tc>
                  <a:txBody>
                    <a:bodyPr/>
                    <a:lstStyle/>
                    <a:p>
                      <a:pPr lvl="0" algn="r">
                        <a:buNone/>
                      </a:pPr>
                      <a:r>
                        <a:rPr lang="pt-BR" sz="12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DUTO: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endParaRPr lang="pt-BR" dirty="0"/>
                    </a:p>
                  </a:txBody>
                  <a:tcP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14044057"/>
                  </a:ext>
                </a:extLst>
              </a:tr>
              <a:tr h="358253">
                <a:tc>
                  <a:txBody>
                    <a:bodyPr/>
                    <a:lstStyle/>
                    <a:p>
                      <a:pPr lvl="0" algn="r">
                        <a:buNone/>
                      </a:pPr>
                      <a:r>
                        <a:rPr lang="pt-BR" sz="12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A DO EVENTO: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endParaRPr lang="pt-BR" dirty="0"/>
                    </a:p>
                  </a:txBody>
                  <a:tcP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86585775"/>
                  </a:ext>
                </a:extLst>
              </a:tr>
              <a:tr h="358253">
                <a:tc>
                  <a:txBody>
                    <a:bodyPr/>
                    <a:lstStyle/>
                    <a:p>
                      <a:pPr lvl="0" algn="r">
                        <a:buNone/>
                      </a:pPr>
                      <a:r>
                        <a:rPr lang="pt-BR" sz="12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UANTIDADE DE PESSOAS PRESENTES: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endParaRPr lang="pt-BR" dirty="0"/>
                    </a:p>
                  </a:txBody>
                  <a:tcP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91077168"/>
                  </a:ext>
                </a:extLst>
              </a:tr>
            </a:tbl>
          </a:graphicData>
        </a:graphic>
      </p:graphicFrame>
      <p:pic>
        <p:nvPicPr>
          <p:cNvPr id="2" name="Imagem 1" descr="Logotipo, nome da empresa">
            <a:extLst>
              <a:ext uri="{FF2B5EF4-FFF2-40B4-BE49-F238E27FC236}">
                <a16:creationId xmlns:a16="http://schemas.microsoft.com/office/drawing/2014/main" id="{EE020D1F-6D79-DF10-51B0-D1332B9E004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2362" y="931721"/>
            <a:ext cx="831273" cy="9088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04868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abela 4">
            <a:extLst>
              <a:ext uri="{FF2B5EF4-FFF2-40B4-BE49-F238E27FC236}">
                <a16:creationId xmlns:a16="http://schemas.microsoft.com/office/drawing/2014/main" id="{CB0698A4-27BD-49A2-8032-D987B1BB640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05963832"/>
              </p:ext>
            </p:extLst>
          </p:nvPr>
        </p:nvGraphicFramePr>
        <p:xfrm>
          <a:off x="1" y="1914214"/>
          <a:ext cx="12192001" cy="3706158"/>
        </p:xfrm>
        <a:graphic>
          <a:graphicData uri="http://schemas.openxmlformats.org/drawingml/2006/table">
            <a:tbl>
              <a:tblPr firstRow="1" bandRow="1">
                <a:tableStyleId>{8EC20E35-A176-4012-BC5E-935CFFF8708E}</a:tableStyleId>
              </a:tblPr>
              <a:tblGrid>
                <a:gridCol w="1693870">
                  <a:extLst>
                    <a:ext uri="{9D8B030D-6E8A-4147-A177-3AD203B41FA5}">
                      <a16:colId xmlns:a16="http://schemas.microsoft.com/office/drawing/2014/main" val="1990649274"/>
                    </a:ext>
                  </a:extLst>
                </a:gridCol>
                <a:gridCol w="1230879">
                  <a:extLst>
                    <a:ext uri="{9D8B030D-6E8A-4147-A177-3AD203B41FA5}">
                      <a16:colId xmlns:a16="http://schemas.microsoft.com/office/drawing/2014/main" val="509666646"/>
                    </a:ext>
                  </a:extLst>
                </a:gridCol>
                <a:gridCol w="1276049">
                  <a:extLst>
                    <a:ext uri="{9D8B030D-6E8A-4147-A177-3AD203B41FA5}">
                      <a16:colId xmlns:a16="http://schemas.microsoft.com/office/drawing/2014/main" val="3283881843"/>
                    </a:ext>
                  </a:extLst>
                </a:gridCol>
                <a:gridCol w="1627616">
                  <a:extLst>
                    <a:ext uri="{9D8B030D-6E8A-4147-A177-3AD203B41FA5}">
                      <a16:colId xmlns:a16="http://schemas.microsoft.com/office/drawing/2014/main" val="2728315927"/>
                    </a:ext>
                  </a:extLst>
                </a:gridCol>
                <a:gridCol w="1882492">
                  <a:extLst>
                    <a:ext uri="{9D8B030D-6E8A-4147-A177-3AD203B41FA5}">
                      <a16:colId xmlns:a16="http://schemas.microsoft.com/office/drawing/2014/main" val="2079896668"/>
                    </a:ext>
                  </a:extLst>
                </a:gridCol>
                <a:gridCol w="1475874">
                  <a:extLst>
                    <a:ext uri="{9D8B030D-6E8A-4147-A177-3AD203B41FA5}">
                      <a16:colId xmlns:a16="http://schemas.microsoft.com/office/drawing/2014/main" val="1177368697"/>
                    </a:ext>
                  </a:extLst>
                </a:gridCol>
                <a:gridCol w="1561432">
                  <a:extLst>
                    <a:ext uri="{9D8B030D-6E8A-4147-A177-3AD203B41FA5}">
                      <a16:colId xmlns:a16="http://schemas.microsoft.com/office/drawing/2014/main" val="1344571652"/>
                    </a:ext>
                  </a:extLst>
                </a:gridCol>
                <a:gridCol w="1443789">
                  <a:extLst>
                    <a:ext uri="{9D8B030D-6E8A-4147-A177-3AD203B41FA5}">
                      <a16:colId xmlns:a16="http://schemas.microsoft.com/office/drawing/2014/main" val="3930445150"/>
                    </a:ext>
                  </a:extLst>
                </a:gridCol>
              </a:tblGrid>
              <a:tr h="933612">
                <a:tc>
                  <a:txBody>
                    <a:bodyPr/>
                    <a:lstStyle/>
                    <a:p>
                      <a:pPr algn="ctr"/>
                      <a:r>
                        <a:rPr lang="pt-BR" sz="12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ME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F606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PF/CNPJ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F606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LEFONE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F606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b="1" dirty="0">
                          <a:latin typeface="Arial"/>
                          <a:cs typeface="Arial"/>
                        </a:rPr>
                        <a:t>CIDADE / UF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F606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b="1" dirty="0">
                          <a:latin typeface="Arial"/>
                          <a:cs typeface="Arial"/>
                        </a:rPr>
                        <a:t>EMAIL</a:t>
                      </a:r>
                    </a:p>
                    <a:p>
                      <a:pPr algn="ctr"/>
                      <a:r>
                        <a:rPr lang="pt-BR" sz="1200" b="1" dirty="0">
                          <a:latin typeface="Arial"/>
                          <a:cs typeface="Arial"/>
                        </a:rPr>
                        <a:t>(IMPORTANTE)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F606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914400" rtl="0" eaLnBrk="1" latinLnBrk="0" hangingPunct="1">
                        <a:buNone/>
                      </a:pPr>
                      <a:r>
                        <a:rPr lang="pt-BR" sz="1200" b="1" kern="1200" dirty="0">
                          <a:solidFill>
                            <a:schemeClr val="lt1"/>
                          </a:solidFill>
                          <a:latin typeface="Arial"/>
                          <a:ea typeface="+mn-ea"/>
                          <a:cs typeface="Arial"/>
                        </a:rPr>
                        <a:t>CLIENTE INTERESSADO?</a:t>
                      </a:r>
                    </a:p>
                    <a:p>
                      <a:pPr marL="0" lvl="0" algn="ctr" defTabSz="914400" rtl="0" eaLnBrk="1" latinLnBrk="0" hangingPunct="1">
                        <a:buNone/>
                      </a:pPr>
                      <a:r>
                        <a:rPr lang="pt-BR" sz="1200" b="1" kern="1200" dirty="0">
                          <a:solidFill>
                            <a:schemeClr val="lt1"/>
                          </a:solidFill>
                          <a:latin typeface="Arial"/>
                          <a:ea typeface="+mn-ea"/>
                          <a:cs typeface="Arial"/>
                        </a:rPr>
                        <a:t>(SIM OU NÃO)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F606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914400" rtl="0" eaLnBrk="1" latinLnBrk="0" hangingPunct="1">
                        <a:buNone/>
                      </a:pPr>
                      <a:r>
                        <a:rPr lang="pt-BR" sz="1200" b="1" kern="1200" dirty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ODUTO DE INTERESSE</a:t>
                      </a:r>
                    </a:p>
                    <a:p>
                      <a:pPr marL="0" lvl="0" algn="ctr" defTabSz="914400" rtl="0" eaLnBrk="1" latinLnBrk="0" hangingPunct="1">
                        <a:buNone/>
                      </a:pPr>
                      <a:r>
                        <a:rPr lang="pt-BR" sz="1200" b="1" kern="1200" dirty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(SE HOUVER)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F606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914400" rtl="0" eaLnBrk="1" latinLnBrk="0" hangingPunct="1">
                        <a:buNone/>
                      </a:pPr>
                      <a:r>
                        <a:rPr lang="pt-BR" sz="1200" b="1" kern="1200" dirty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M NEGOCIAÇÃO?</a:t>
                      </a:r>
                    </a:p>
                    <a:p>
                      <a:pPr marL="0" lvl="0" algn="ctr" defTabSz="914400" rtl="0" eaLnBrk="1" latinLnBrk="0" hangingPunct="1">
                        <a:buNone/>
                      </a:pPr>
                      <a:r>
                        <a:rPr lang="pt-BR" sz="1200" b="1" kern="1200" dirty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SIM OU NÃO)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F606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5835319"/>
                  </a:ext>
                </a:extLst>
              </a:tr>
              <a:tr h="396078">
                <a:tc>
                  <a:txBody>
                    <a:bodyPr/>
                    <a:lstStyle/>
                    <a:p>
                      <a:pPr algn="ctr"/>
                      <a:endParaRPr lang="pt-BR" sz="11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1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1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1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1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1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1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100" dirty="0"/>
                    </a:p>
                  </a:txBody>
                  <a:tcPr anchor="ctr">
                    <a:lnL>
                      <a:noFill/>
                    </a:lnL>
                    <a:lnR w="12700">
                      <a:noFill/>
                    </a:lnR>
                    <a:lnT w="254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66640306"/>
                  </a:ext>
                </a:extLst>
              </a:tr>
              <a:tr h="396078">
                <a:tc>
                  <a:txBody>
                    <a:bodyPr/>
                    <a:lstStyle/>
                    <a:p>
                      <a:pPr algn="ctr"/>
                      <a:endParaRPr lang="pt-BR" sz="11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>
                      <a:solidFill>
                        <a:schemeClr val="tx1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1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>
                      <a:solidFill>
                        <a:schemeClr val="tx1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1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>
                      <a:solidFill>
                        <a:schemeClr val="tx1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1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>
                      <a:solidFill>
                        <a:schemeClr val="tx1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1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>
                      <a:solidFill>
                        <a:schemeClr val="tx1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1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1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>
                      <a:solidFill>
                        <a:schemeClr val="tx1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100" dirty="0"/>
                    </a:p>
                  </a:txBody>
                  <a:tcPr anchor="ctr">
                    <a:lnL>
                      <a:noFill/>
                    </a:lnL>
                    <a:lnR w="12700">
                      <a:noFill/>
                    </a:lnR>
                    <a:lnT w="12700">
                      <a:solidFill>
                        <a:schemeClr val="tx1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501762423"/>
                  </a:ext>
                </a:extLst>
              </a:tr>
              <a:tr h="396078">
                <a:tc>
                  <a:txBody>
                    <a:bodyPr/>
                    <a:lstStyle/>
                    <a:p>
                      <a:pPr algn="ctr"/>
                      <a:endParaRPr lang="pt-BR" sz="11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1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1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1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1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1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1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100" dirty="0"/>
                    </a:p>
                  </a:txBody>
                  <a:tcPr anchor="ctr">
                    <a:lnL>
                      <a:noFill/>
                    </a:lnL>
                    <a:lnR w="12700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26534169"/>
                  </a:ext>
                </a:extLst>
              </a:tr>
              <a:tr h="396078">
                <a:tc>
                  <a:txBody>
                    <a:bodyPr/>
                    <a:lstStyle/>
                    <a:p>
                      <a:pPr algn="ctr"/>
                      <a:endParaRPr lang="pt-BR" sz="11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1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1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1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1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1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1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100" dirty="0"/>
                    </a:p>
                  </a:txBody>
                  <a:tcPr anchor="ctr">
                    <a:lnL>
                      <a:noFill/>
                    </a:lnL>
                    <a:lnR w="12700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81583770"/>
                  </a:ext>
                </a:extLst>
              </a:tr>
              <a:tr h="396078">
                <a:tc>
                  <a:txBody>
                    <a:bodyPr/>
                    <a:lstStyle/>
                    <a:p>
                      <a:pPr algn="ctr"/>
                      <a:endParaRPr lang="pt-BR" sz="11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1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1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1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1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1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1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100" dirty="0"/>
                    </a:p>
                  </a:txBody>
                  <a:tcPr anchor="ctr">
                    <a:lnL>
                      <a:noFill/>
                    </a:lnL>
                    <a:lnR w="12700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7105018"/>
                  </a:ext>
                </a:extLst>
              </a:tr>
              <a:tr h="396078">
                <a:tc>
                  <a:txBody>
                    <a:bodyPr/>
                    <a:lstStyle/>
                    <a:p>
                      <a:pPr algn="ctr"/>
                      <a:endParaRPr lang="pt-BR" sz="11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1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1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1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1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1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1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100" dirty="0"/>
                    </a:p>
                  </a:txBody>
                  <a:tcPr anchor="ctr">
                    <a:lnL>
                      <a:noFill/>
                    </a:lnL>
                    <a:lnR w="12700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44859231"/>
                  </a:ext>
                </a:extLst>
              </a:tr>
              <a:tr h="396078">
                <a:tc>
                  <a:txBody>
                    <a:bodyPr/>
                    <a:lstStyle/>
                    <a:p>
                      <a:pPr algn="ctr"/>
                      <a:endParaRPr lang="pt-BR" sz="11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chemeClr val="tx1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1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chemeClr val="tx1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1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chemeClr val="tx1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1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chemeClr val="tx1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1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chemeClr val="tx1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1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chemeClr val="tx1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1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chemeClr val="tx1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100" dirty="0"/>
                    </a:p>
                  </a:txBody>
                  <a:tcPr anchor="ctr">
                    <a:lnL>
                      <a:noFill/>
                    </a:lnL>
                    <a:lnR w="12700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chemeClr val="tx1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39699818"/>
                  </a:ext>
                </a:extLst>
              </a:tr>
            </a:tbl>
          </a:graphicData>
        </a:graphic>
      </p:graphicFrame>
      <p:sp>
        <p:nvSpPr>
          <p:cNvPr id="2" name="CaixaDeTexto 1">
            <a:extLst>
              <a:ext uri="{FF2B5EF4-FFF2-40B4-BE49-F238E27FC236}">
                <a16:creationId xmlns:a16="http://schemas.microsoft.com/office/drawing/2014/main" id="{9C7C91DD-CE62-61B2-2D4F-DD0C9203A80C}"/>
              </a:ext>
            </a:extLst>
          </p:cNvPr>
          <p:cNvSpPr txBox="1"/>
          <p:nvPr/>
        </p:nvSpPr>
        <p:spPr>
          <a:xfrm>
            <a:off x="105833" y="239223"/>
            <a:ext cx="330135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400" b="1" dirty="0">
                <a:solidFill>
                  <a:srgbClr val="C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PLANO COMERCIAL 2024</a:t>
            </a: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6A24DF1E-91F7-7275-D334-FE45DD74CFA5}"/>
              </a:ext>
            </a:extLst>
          </p:cNvPr>
          <p:cNvSpPr txBox="1"/>
          <p:nvPr/>
        </p:nvSpPr>
        <p:spPr>
          <a:xfrm>
            <a:off x="105833" y="657026"/>
            <a:ext cx="709191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4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STA DE CLIENTES</a:t>
            </a:r>
            <a:endParaRPr lang="en-US" sz="1400" b="1" dirty="0">
              <a:solidFill>
                <a:schemeClr val="bg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Imagem 2" descr="Logotipo, nome da empresa">
            <a:extLst>
              <a:ext uri="{FF2B5EF4-FFF2-40B4-BE49-F238E27FC236}">
                <a16:creationId xmlns:a16="http://schemas.microsoft.com/office/drawing/2014/main" id="{F4FC7973-F215-EDF2-5FA6-64996882792B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50951" y="239223"/>
            <a:ext cx="831273" cy="9088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483385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abela 4">
            <a:extLst>
              <a:ext uri="{FF2B5EF4-FFF2-40B4-BE49-F238E27FC236}">
                <a16:creationId xmlns:a16="http://schemas.microsoft.com/office/drawing/2014/main" id="{CB0698A4-27BD-49A2-8032-D987B1BB640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74567088"/>
              </p:ext>
            </p:extLst>
          </p:nvPr>
        </p:nvGraphicFramePr>
        <p:xfrm>
          <a:off x="-1" y="1914214"/>
          <a:ext cx="12192001" cy="3706158"/>
        </p:xfrm>
        <a:graphic>
          <a:graphicData uri="http://schemas.openxmlformats.org/drawingml/2006/table">
            <a:tbl>
              <a:tblPr firstRow="1" bandRow="1">
                <a:tableStyleId>{8EC20E35-A176-4012-BC5E-935CFFF8708E}</a:tableStyleId>
              </a:tblPr>
              <a:tblGrid>
                <a:gridCol w="1693870">
                  <a:extLst>
                    <a:ext uri="{9D8B030D-6E8A-4147-A177-3AD203B41FA5}">
                      <a16:colId xmlns:a16="http://schemas.microsoft.com/office/drawing/2014/main" val="1990649274"/>
                    </a:ext>
                  </a:extLst>
                </a:gridCol>
                <a:gridCol w="1230879">
                  <a:extLst>
                    <a:ext uri="{9D8B030D-6E8A-4147-A177-3AD203B41FA5}">
                      <a16:colId xmlns:a16="http://schemas.microsoft.com/office/drawing/2014/main" val="509666646"/>
                    </a:ext>
                  </a:extLst>
                </a:gridCol>
                <a:gridCol w="1276049">
                  <a:extLst>
                    <a:ext uri="{9D8B030D-6E8A-4147-A177-3AD203B41FA5}">
                      <a16:colId xmlns:a16="http://schemas.microsoft.com/office/drawing/2014/main" val="3283881843"/>
                    </a:ext>
                  </a:extLst>
                </a:gridCol>
                <a:gridCol w="1627616">
                  <a:extLst>
                    <a:ext uri="{9D8B030D-6E8A-4147-A177-3AD203B41FA5}">
                      <a16:colId xmlns:a16="http://schemas.microsoft.com/office/drawing/2014/main" val="2728315927"/>
                    </a:ext>
                  </a:extLst>
                </a:gridCol>
                <a:gridCol w="1882492">
                  <a:extLst>
                    <a:ext uri="{9D8B030D-6E8A-4147-A177-3AD203B41FA5}">
                      <a16:colId xmlns:a16="http://schemas.microsoft.com/office/drawing/2014/main" val="2079896668"/>
                    </a:ext>
                  </a:extLst>
                </a:gridCol>
                <a:gridCol w="1475874">
                  <a:extLst>
                    <a:ext uri="{9D8B030D-6E8A-4147-A177-3AD203B41FA5}">
                      <a16:colId xmlns:a16="http://schemas.microsoft.com/office/drawing/2014/main" val="1177368697"/>
                    </a:ext>
                  </a:extLst>
                </a:gridCol>
                <a:gridCol w="1561432">
                  <a:extLst>
                    <a:ext uri="{9D8B030D-6E8A-4147-A177-3AD203B41FA5}">
                      <a16:colId xmlns:a16="http://schemas.microsoft.com/office/drawing/2014/main" val="1344571652"/>
                    </a:ext>
                  </a:extLst>
                </a:gridCol>
                <a:gridCol w="1443789">
                  <a:extLst>
                    <a:ext uri="{9D8B030D-6E8A-4147-A177-3AD203B41FA5}">
                      <a16:colId xmlns:a16="http://schemas.microsoft.com/office/drawing/2014/main" val="3930445150"/>
                    </a:ext>
                  </a:extLst>
                </a:gridCol>
              </a:tblGrid>
              <a:tr h="933612">
                <a:tc>
                  <a:txBody>
                    <a:bodyPr/>
                    <a:lstStyle/>
                    <a:p>
                      <a:pPr algn="ctr"/>
                      <a:r>
                        <a:rPr lang="pt-BR" sz="12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ME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F606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PF/CNPJ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F606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LEFONE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F606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IDADE + UF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F606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b="1" dirty="0">
                          <a:latin typeface="Arial"/>
                          <a:cs typeface="Arial"/>
                        </a:rPr>
                        <a:t>EMAIL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F606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914400" rtl="0" eaLnBrk="1" latinLnBrk="0" hangingPunct="1">
                        <a:buNone/>
                      </a:pPr>
                      <a:r>
                        <a:rPr lang="pt-BR" sz="1200" b="1" kern="1200" dirty="0">
                          <a:solidFill>
                            <a:schemeClr val="lt1"/>
                          </a:solidFill>
                          <a:latin typeface="Arial"/>
                          <a:ea typeface="+mn-ea"/>
                          <a:cs typeface="Arial"/>
                        </a:rPr>
                        <a:t>CLIENTE INTERESSADO?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F606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914400" rtl="0" eaLnBrk="1" latinLnBrk="0" hangingPunct="1">
                        <a:buNone/>
                      </a:pPr>
                      <a:r>
                        <a:rPr lang="pt-BR" sz="1200" b="1" kern="1200" dirty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ODUTO DE INTERESSE</a:t>
                      </a:r>
                    </a:p>
                    <a:p>
                      <a:pPr marL="0" lvl="0" algn="ctr" defTabSz="914400" rtl="0" eaLnBrk="1" latinLnBrk="0" hangingPunct="1">
                        <a:buNone/>
                      </a:pPr>
                      <a:r>
                        <a:rPr lang="pt-BR" sz="1200" b="1" kern="1200" dirty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(SE HOUVER)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F606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914400" rtl="0" eaLnBrk="1" latinLnBrk="0" hangingPunct="1">
                        <a:buNone/>
                      </a:pPr>
                      <a:r>
                        <a:rPr lang="pt-BR" sz="1200" b="1" kern="1200" dirty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M NEGOCIAÇÃO?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F606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5835319"/>
                  </a:ext>
                </a:extLst>
              </a:tr>
              <a:tr h="396078">
                <a:tc>
                  <a:txBody>
                    <a:bodyPr/>
                    <a:lstStyle/>
                    <a:p>
                      <a:pPr algn="ctr"/>
                      <a:endParaRPr lang="pt-BR" sz="11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1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1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1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1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1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1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100" dirty="0"/>
                    </a:p>
                  </a:txBody>
                  <a:tcPr anchor="ctr">
                    <a:lnL>
                      <a:noFill/>
                    </a:lnL>
                    <a:lnR w="12700">
                      <a:noFill/>
                    </a:lnR>
                    <a:lnT w="254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66640306"/>
                  </a:ext>
                </a:extLst>
              </a:tr>
              <a:tr h="396078">
                <a:tc>
                  <a:txBody>
                    <a:bodyPr/>
                    <a:lstStyle/>
                    <a:p>
                      <a:pPr algn="ctr"/>
                      <a:endParaRPr lang="pt-BR" sz="11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>
                      <a:solidFill>
                        <a:schemeClr val="tx1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1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>
                      <a:solidFill>
                        <a:schemeClr val="tx1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1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>
                      <a:solidFill>
                        <a:schemeClr val="tx1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1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>
                      <a:solidFill>
                        <a:schemeClr val="tx1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1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>
                      <a:solidFill>
                        <a:schemeClr val="tx1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1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1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>
                      <a:solidFill>
                        <a:schemeClr val="tx1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100" dirty="0"/>
                    </a:p>
                  </a:txBody>
                  <a:tcPr anchor="ctr">
                    <a:lnL>
                      <a:noFill/>
                    </a:lnL>
                    <a:lnR w="12700">
                      <a:noFill/>
                    </a:lnR>
                    <a:lnT w="12700">
                      <a:solidFill>
                        <a:schemeClr val="tx1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501762423"/>
                  </a:ext>
                </a:extLst>
              </a:tr>
              <a:tr h="396078">
                <a:tc>
                  <a:txBody>
                    <a:bodyPr/>
                    <a:lstStyle/>
                    <a:p>
                      <a:pPr algn="ctr"/>
                      <a:endParaRPr lang="pt-BR" sz="11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1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1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1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1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1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1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100" dirty="0"/>
                    </a:p>
                  </a:txBody>
                  <a:tcPr anchor="ctr">
                    <a:lnL>
                      <a:noFill/>
                    </a:lnL>
                    <a:lnR w="12700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26534169"/>
                  </a:ext>
                </a:extLst>
              </a:tr>
              <a:tr h="396078">
                <a:tc>
                  <a:txBody>
                    <a:bodyPr/>
                    <a:lstStyle/>
                    <a:p>
                      <a:pPr algn="ctr"/>
                      <a:endParaRPr lang="pt-BR" sz="11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1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1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1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1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1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1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100" dirty="0"/>
                    </a:p>
                  </a:txBody>
                  <a:tcPr anchor="ctr">
                    <a:lnL>
                      <a:noFill/>
                    </a:lnL>
                    <a:lnR w="12700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81583770"/>
                  </a:ext>
                </a:extLst>
              </a:tr>
              <a:tr h="396078">
                <a:tc>
                  <a:txBody>
                    <a:bodyPr/>
                    <a:lstStyle/>
                    <a:p>
                      <a:pPr algn="ctr"/>
                      <a:endParaRPr lang="pt-BR" sz="11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1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1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1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1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1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1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100" dirty="0"/>
                    </a:p>
                  </a:txBody>
                  <a:tcPr anchor="ctr">
                    <a:lnL>
                      <a:noFill/>
                    </a:lnL>
                    <a:lnR w="12700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7105018"/>
                  </a:ext>
                </a:extLst>
              </a:tr>
              <a:tr h="396078">
                <a:tc>
                  <a:txBody>
                    <a:bodyPr/>
                    <a:lstStyle/>
                    <a:p>
                      <a:pPr algn="ctr"/>
                      <a:endParaRPr lang="pt-BR" sz="11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1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1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1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1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1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1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100" dirty="0"/>
                    </a:p>
                  </a:txBody>
                  <a:tcPr anchor="ctr">
                    <a:lnL>
                      <a:noFill/>
                    </a:lnL>
                    <a:lnR w="12700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44859231"/>
                  </a:ext>
                </a:extLst>
              </a:tr>
              <a:tr h="396078">
                <a:tc>
                  <a:txBody>
                    <a:bodyPr/>
                    <a:lstStyle/>
                    <a:p>
                      <a:pPr algn="ctr"/>
                      <a:endParaRPr lang="pt-BR" sz="11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chemeClr val="tx1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1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chemeClr val="tx1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1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chemeClr val="tx1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1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chemeClr val="tx1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1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chemeClr val="tx1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1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chemeClr val="tx1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1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chemeClr val="tx1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100" dirty="0"/>
                    </a:p>
                  </a:txBody>
                  <a:tcPr anchor="ctr">
                    <a:lnL>
                      <a:noFill/>
                    </a:lnL>
                    <a:lnR w="12700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chemeClr val="tx1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39699818"/>
                  </a:ext>
                </a:extLst>
              </a:tr>
            </a:tbl>
          </a:graphicData>
        </a:graphic>
      </p:graphicFrame>
      <p:sp>
        <p:nvSpPr>
          <p:cNvPr id="2" name="CaixaDeTexto 1">
            <a:extLst>
              <a:ext uri="{FF2B5EF4-FFF2-40B4-BE49-F238E27FC236}">
                <a16:creationId xmlns:a16="http://schemas.microsoft.com/office/drawing/2014/main" id="{9C7C91DD-CE62-61B2-2D4F-DD0C9203A80C}"/>
              </a:ext>
            </a:extLst>
          </p:cNvPr>
          <p:cNvSpPr txBox="1"/>
          <p:nvPr/>
        </p:nvSpPr>
        <p:spPr>
          <a:xfrm>
            <a:off x="105833" y="239223"/>
            <a:ext cx="330135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400" b="1" dirty="0">
                <a:solidFill>
                  <a:srgbClr val="C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PLANO COMERCIAL 2024</a:t>
            </a: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6A24DF1E-91F7-7275-D334-FE45DD74CFA5}"/>
              </a:ext>
            </a:extLst>
          </p:cNvPr>
          <p:cNvSpPr txBox="1"/>
          <p:nvPr/>
        </p:nvSpPr>
        <p:spPr>
          <a:xfrm>
            <a:off x="105833" y="657026"/>
            <a:ext cx="709191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4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STA DE CLIENTES</a:t>
            </a:r>
            <a:endParaRPr lang="en-US" sz="1400" b="1" dirty="0">
              <a:solidFill>
                <a:schemeClr val="bg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Imagem 2" descr="Logotipo, nome da empresa">
            <a:extLst>
              <a:ext uri="{FF2B5EF4-FFF2-40B4-BE49-F238E27FC236}">
                <a16:creationId xmlns:a16="http://schemas.microsoft.com/office/drawing/2014/main" id="{F3D49B85-BFAE-C204-E8F6-4F14DFBC07B0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50951" y="239223"/>
            <a:ext cx="831273" cy="9088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706248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Agrupar 19">
            <a:extLst>
              <a:ext uri="{FF2B5EF4-FFF2-40B4-BE49-F238E27FC236}">
                <a16:creationId xmlns:a16="http://schemas.microsoft.com/office/drawing/2014/main" id="{26E7956A-4967-42CF-AD6B-32E788CBD918}"/>
              </a:ext>
            </a:extLst>
          </p:cNvPr>
          <p:cNvGrpSpPr/>
          <p:nvPr/>
        </p:nvGrpSpPr>
        <p:grpSpPr>
          <a:xfrm>
            <a:off x="456162" y="1368423"/>
            <a:ext cx="11016368" cy="4128609"/>
            <a:chOff x="1588248" y="1227389"/>
            <a:chExt cx="3024778" cy="2060575"/>
          </a:xfrm>
        </p:grpSpPr>
        <p:sp>
          <p:nvSpPr>
            <p:cNvPr id="8" name="Retângulo 7">
              <a:extLst>
                <a:ext uri="{FF2B5EF4-FFF2-40B4-BE49-F238E27FC236}">
                  <a16:creationId xmlns:a16="http://schemas.microsoft.com/office/drawing/2014/main" id="{5A8F5BE8-22B0-448D-9F53-93EECBC8CA17}"/>
                </a:ext>
              </a:extLst>
            </p:cNvPr>
            <p:cNvSpPr/>
            <p:nvPr/>
          </p:nvSpPr>
          <p:spPr>
            <a:xfrm>
              <a:off x="1588248" y="1227390"/>
              <a:ext cx="3016757" cy="2060574"/>
            </a:xfrm>
            <a:prstGeom prst="rect">
              <a:avLst/>
            </a:prstGeom>
            <a:noFill/>
            <a:ln w="6350">
              <a:solidFill>
                <a:schemeClr val="bg1">
                  <a:lumMod val="65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9" name="CaixaDeTexto 8">
              <a:extLst>
                <a:ext uri="{FF2B5EF4-FFF2-40B4-BE49-F238E27FC236}">
                  <a16:creationId xmlns:a16="http://schemas.microsoft.com/office/drawing/2014/main" id="{30E791E8-BB39-4065-A625-58B69D85668E}"/>
                </a:ext>
              </a:extLst>
            </p:cNvPr>
            <p:cNvSpPr txBox="1"/>
            <p:nvPr/>
          </p:nvSpPr>
          <p:spPr>
            <a:xfrm>
              <a:off x="1596269" y="1249482"/>
              <a:ext cx="3008736" cy="215054"/>
            </a:xfrm>
            <a:prstGeom prst="rect">
              <a:avLst/>
            </a:prstGeom>
            <a:noFill/>
            <a:ln>
              <a:noFill/>
              <a:prstDash val="sysDash"/>
            </a:ln>
          </p:spPr>
          <p:txBody>
            <a:bodyPr wrap="square" lIns="91440" tIns="45720" rIns="91440" bIns="45720" rtlCol="0" anchor="t">
              <a:spAutoFit/>
            </a:bodyPr>
            <a:lstStyle/>
            <a:p>
              <a:r>
                <a:rPr lang="pt-BR" sz="1100" i="1" dirty="0"/>
                <a:t>FOTO 1</a:t>
              </a:r>
              <a:endParaRPr lang="pt-BR" sz="1100" i="1" dirty="0">
                <a:ea typeface="+mn-lt"/>
                <a:cs typeface="+mn-lt"/>
              </a:endParaRPr>
            </a:p>
            <a:p>
              <a:endParaRPr lang="pt-BR" sz="1100" i="1" dirty="0"/>
            </a:p>
          </p:txBody>
        </p:sp>
        <p:sp>
          <p:nvSpPr>
            <p:cNvPr id="10" name="Retângulo 9">
              <a:extLst>
                <a:ext uri="{FF2B5EF4-FFF2-40B4-BE49-F238E27FC236}">
                  <a16:creationId xmlns:a16="http://schemas.microsoft.com/office/drawing/2014/main" id="{5513BFD8-F98E-490B-AA1F-8F750A08CF69}"/>
                </a:ext>
              </a:extLst>
            </p:cNvPr>
            <p:cNvSpPr/>
            <p:nvPr/>
          </p:nvSpPr>
          <p:spPr>
            <a:xfrm>
              <a:off x="1596269" y="1227389"/>
              <a:ext cx="3016757" cy="2060575"/>
            </a:xfrm>
            <a:prstGeom prst="rect">
              <a:avLst/>
            </a:prstGeom>
            <a:noFill/>
            <a:ln>
              <a:solidFill>
                <a:schemeClr val="bg1">
                  <a:lumMod val="65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sp>
        <p:nvSpPr>
          <p:cNvPr id="33" name="CaixaDeTexto 32">
            <a:extLst>
              <a:ext uri="{FF2B5EF4-FFF2-40B4-BE49-F238E27FC236}">
                <a16:creationId xmlns:a16="http://schemas.microsoft.com/office/drawing/2014/main" id="{29196318-9FDD-81FC-2015-6FB22E444A9F}"/>
              </a:ext>
            </a:extLst>
          </p:cNvPr>
          <p:cNvSpPr txBox="1"/>
          <p:nvPr/>
        </p:nvSpPr>
        <p:spPr>
          <a:xfrm>
            <a:off x="105833" y="239223"/>
            <a:ext cx="330135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400" b="1" dirty="0">
                <a:solidFill>
                  <a:srgbClr val="C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PLANO COMERCIAL 2024</a:t>
            </a:r>
          </a:p>
        </p:txBody>
      </p:sp>
      <p:sp>
        <p:nvSpPr>
          <p:cNvPr id="34" name="CaixaDeTexto 33">
            <a:extLst>
              <a:ext uri="{FF2B5EF4-FFF2-40B4-BE49-F238E27FC236}">
                <a16:creationId xmlns:a16="http://schemas.microsoft.com/office/drawing/2014/main" id="{43B56EEB-A5DF-BAB0-7DAA-9AF70A1B9B80}"/>
              </a:ext>
            </a:extLst>
          </p:cNvPr>
          <p:cNvSpPr txBox="1"/>
          <p:nvPr/>
        </p:nvSpPr>
        <p:spPr>
          <a:xfrm>
            <a:off x="105833" y="657026"/>
            <a:ext cx="709191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4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IDÊNCIAS DO PÚBLICO</a:t>
            </a:r>
            <a:endParaRPr lang="en-US" sz="1400" b="1" dirty="0">
              <a:solidFill>
                <a:schemeClr val="bg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884213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Agrupar 19">
            <a:extLst>
              <a:ext uri="{FF2B5EF4-FFF2-40B4-BE49-F238E27FC236}">
                <a16:creationId xmlns:a16="http://schemas.microsoft.com/office/drawing/2014/main" id="{26E7956A-4967-42CF-AD6B-32E788CBD918}"/>
              </a:ext>
            </a:extLst>
          </p:cNvPr>
          <p:cNvGrpSpPr/>
          <p:nvPr/>
        </p:nvGrpSpPr>
        <p:grpSpPr>
          <a:xfrm>
            <a:off x="456162" y="1368423"/>
            <a:ext cx="11016368" cy="4128609"/>
            <a:chOff x="1588248" y="1227389"/>
            <a:chExt cx="3024778" cy="2060575"/>
          </a:xfrm>
        </p:grpSpPr>
        <p:sp>
          <p:nvSpPr>
            <p:cNvPr id="8" name="Retângulo 7">
              <a:extLst>
                <a:ext uri="{FF2B5EF4-FFF2-40B4-BE49-F238E27FC236}">
                  <a16:creationId xmlns:a16="http://schemas.microsoft.com/office/drawing/2014/main" id="{5A8F5BE8-22B0-448D-9F53-93EECBC8CA17}"/>
                </a:ext>
              </a:extLst>
            </p:cNvPr>
            <p:cNvSpPr/>
            <p:nvPr/>
          </p:nvSpPr>
          <p:spPr>
            <a:xfrm>
              <a:off x="1588248" y="1227390"/>
              <a:ext cx="3016757" cy="2060574"/>
            </a:xfrm>
            <a:prstGeom prst="rect">
              <a:avLst/>
            </a:prstGeom>
            <a:noFill/>
            <a:ln w="6350">
              <a:solidFill>
                <a:schemeClr val="bg1">
                  <a:lumMod val="65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9" name="CaixaDeTexto 8">
              <a:extLst>
                <a:ext uri="{FF2B5EF4-FFF2-40B4-BE49-F238E27FC236}">
                  <a16:creationId xmlns:a16="http://schemas.microsoft.com/office/drawing/2014/main" id="{30E791E8-BB39-4065-A625-58B69D85668E}"/>
                </a:ext>
              </a:extLst>
            </p:cNvPr>
            <p:cNvSpPr txBox="1"/>
            <p:nvPr/>
          </p:nvSpPr>
          <p:spPr>
            <a:xfrm>
              <a:off x="1596269" y="1249482"/>
              <a:ext cx="3008736" cy="215054"/>
            </a:xfrm>
            <a:prstGeom prst="rect">
              <a:avLst/>
            </a:prstGeom>
            <a:noFill/>
            <a:ln>
              <a:noFill/>
              <a:prstDash val="sysDash"/>
            </a:ln>
          </p:spPr>
          <p:txBody>
            <a:bodyPr wrap="square" lIns="91440" tIns="45720" rIns="91440" bIns="45720" rtlCol="0" anchor="t">
              <a:spAutoFit/>
            </a:bodyPr>
            <a:lstStyle/>
            <a:p>
              <a:r>
                <a:rPr lang="pt-BR" sz="1100" i="1" dirty="0"/>
                <a:t>FOTO 2</a:t>
              </a:r>
              <a:endParaRPr lang="pt-BR" sz="1100" i="1" dirty="0">
                <a:ea typeface="+mn-lt"/>
                <a:cs typeface="+mn-lt"/>
              </a:endParaRPr>
            </a:p>
            <a:p>
              <a:endParaRPr lang="pt-BR" sz="1100" i="1" dirty="0"/>
            </a:p>
          </p:txBody>
        </p:sp>
        <p:sp>
          <p:nvSpPr>
            <p:cNvPr id="10" name="Retângulo 9">
              <a:extLst>
                <a:ext uri="{FF2B5EF4-FFF2-40B4-BE49-F238E27FC236}">
                  <a16:creationId xmlns:a16="http://schemas.microsoft.com/office/drawing/2014/main" id="{5513BFD8-F98E-490B-AA1F-8F750A08CF69}"/>
                </a:ext>
              </a:extLst>
            </p:cNvPr>
            <p:cNvSpPr/>
            <p:nvPr/>
          </p:nvSpPr>
          <p:spPr>
            <a:xfrm>
              <a:off x="1596269" y="1227389"/>
              <a:ext cx="3016757" cy="2060575"/>
            </a:xfrm>
            <a:prstGeom prst="rect">
              <a:avLst/>
            </a:prstGeom>
            <a:noFill/>
            <a:ln>
              <a:solidFill>
                <a:schemeClr val="bg1">
                  <a:lumMod val="65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sp>
        <p:nvSpPr>
          <p:cNvPr id="33" name="CaixaDeTexto 32">
            <a:extLst>
              <a:ext uri="{FF2B5EF4-FFF2-40B4-BE49-F238E27FC236}">
                <a16:creationId xmlns:a16="http://schemas.microsoft.com/office/drawing/2014/main" id="{29196318-9FDD-81FC-2015-6FB22E444A9F}"/>
              </a:ext>
            </a:extLst>
          </p:cNvPr>
          <p:cNvSpPr txBox="1"/>
          <p:nvPr/>
        </p:nvSpPr>
        <p:spPr>
          <a:xfrm>
            <a:off x="105833" y="239223"/>
            <a:ext cx="330135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400" b="1" dirty="0">
                <a:solidFill>
                  <a:srgbClr val="C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PLANO COMERCIAL 2024</a:t>
            </a:r>
          </a:p>
        </p:txBody>
      </p:sp>
      <p:sp>
        <p:nvSpPr>
          <p:cNvPr id="34" name="CaixaDeTexto 33">
            <a:extLst>
              <a:ext uri="{FF2B5EF4-FFF2-40B4-BE49-F238E27FC236}">
                <a16:creationId xmlns:a16="http://schemas.microsoft.com/office/drawing/2014/main" id="{43B56EEB-A5DF-BAB0-7DAA-9AF70A1B9B80}"/>
              </a:ext>
            </a:extLst>
          </p:cNvPr>
          <p:cNvSpPr txBox="1"/>
          <p:nvPr/>
        </p:nvSpPr>
        <p:spPr>
          <a:xfrm>
            <a:off x="105833" y="657026"/>
            <a:ext cx="709191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4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IDÊNCIAS DO PÚBLICO</a:t>
            </a:r>
            <a:endParaRPr lang="en-US" sz="1400" b="1" dirty="0">
              <a:solidFill>
                <a:schemeClr val="bg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Imagem 1" descr="Logotipo, nome da empresa">
            <a:extLst>
              <a:ext uri="{FF2B5EF4-FFF2-40B4-BE49-F238E27FC236}">
                <a16:creationId xmlns:a16="http://schemas.microsoft.com/office/drawing/2014/main" id="{0365C32E-80B7-9B8C-E4D9-EDBB024FAC6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50951" y="239223"/>
            <a:ext cx="831273" cy="9088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556266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Agrupar 19">
            <a:extLst>
              <a:ext uri="{FF2B5EF4-FFF2-40B4-BE49-F238E27FC236}">
                <a16:creationId xmlns:a16="http://schemas.microsoft.com/office/drawing/2014/main" id="{26E7956A-4967-42CF-AD6B-32E788CBD918}"/>
              </a:ext>
            </a:extLst>
          </p:cNvPr>
          <p:cNvGrpSpPr/>
          <p:nvPr/>
        </p:nvGrpSpPr>
        <p:grpSpPr>
          <a:xfrm>
            <a:off x="456162" y="1368423"/>
            <a:ext cx="11016368" cy="4128609"/>
            <a:chOff x="1588248" y="1227389"/>
            <a:chExt cx="3024778" cy="2060575"/>
          </a:xfrm>
        </p:grpSpPr>
        <p:sp>
          <p:nvSpPr>
            <p:cNvPr id="8" name="Retângulo 7">
              <a:extLst>
                <a:ext uri="{FF2B5EF4-FFF2-40B4-BE49-F238E27FC236}">
                  <a16:creationId xmlns:a16="http://schemas.microsoft.com/office/drawing/2014/main" id="{5A8F5BE8-22B0-448D-9F53-93EECBC8CA17}"/>
                </a:ext>
              </a:extLst>
            </p:cNvPr>
            <p:cNvSpPr/>
            <p:nvPr/>
          </p:nvSpPr>
          <p:spPr>
            <a:xfrm>
              <a:off x="1588248" y="1227390"/>
              <a:ext cx="3016757" cy="2060574"/>
            </a:xfrm>
            <a:prstGeom prst="rect">
              <a:avLst/>
            </a:prstGeom>
            <a:noFill/>
            <a:ln w="6350">
              <a:solidFill>
                <a:schemeClr val="bg1">
                  <a:lumMod val="65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9" name="CaixaDeTexto 8">
              <a:extLst>
                <a:ext uri="{FF2B5EF4-FFF2-40B4-BE49-F238E27FC236}">
                  <a16:creationId xmlns:a16="http://schemas.microsoft.com/office/drawing/2014/main" id="{30E791E8-BB39-4065-A625-58B69D85668E}"/>
                </a:ext>
              </a:extLst>
            </p:cNvPr>
            <p:cNvSpPr txBox="1"/>
            <p:nvPr/>
          </p:nvSpPr>
          <p:spPr>
            <a:xfrm>
              <a:off x="1596269" y="1249482"/>
              <a:ext cx="3008736" cy="215054"/>
            </a:xfrm>
            <a:prstGeom prst="rect">
              <a:avLst/>
            </a:prstGeom>
            <a:noFill/>
            <a:ln>
              <a:noFill/>
              <a:prstDash val="sysDash"/>
            </a:ln>
          </p:spPr>
          <p:txBody>
            <a:bodyPr wrap="square" lIns="91440" tIns="45720" rIns="91440" bIns="45720" rtlCol="0" anchor="t">
              <a:spAutoFit/>
            </a:bodyPr>
            <a:lstStyle/>
            <a:p>
              <a:r>
                <a:rPr lang="pt-BR" sz="1100" i="1" dirty="0"/>
                <a:t>FOTO 3</a:t>
              </a:r>
              <a:endParaRPr lang="pt-BR" sz="1100" i="1" dirty="0">
                <a:ea typeface="+mn-lt"/>
                <a:cs typeface="+mn-lt"/>
              </a:endParaRPr>
            </a:p>
            <a:p>
              <a:endParaRPr lang="pt-BR" sz="1100" i="1" dirty="0"/>
            </a:p>
          </p:txBody>
        </p:sp>
        <p:sp>
          <p:nvSpPr>
            <p:cNvPr id="10" name="Retângulo 9">
              <a:extLst>
                <a:ext uri="{FF2B5EF4-FFF2-40B4-BE49-F238E27FC236}">
                  <a16:creationId xmlns:a16="http://schemas.microsoft.com/office/drawing/2014/main" id="{5513BFD8-F98E-490B-AA1F-8F750A08CF69}"/>
                </a:ext>
              </a:extLst>
            </p:cNvPr>
            <p:cNvSpPr/>
            <p:nvPr/>
          </p:nvSpPr>
          <p:spPr>
            <a:xfrm>
              <a:off x="1596269" y="1227389"/>
              <a:ext cx="3016757" cy="2060575"/>
            </a:xfrm>
            <a:prstGeom prst="rect">
              <a:avLst/>
            </a:prstGeom>
            <a:noFill/>
            <a:ln>
              <a:solidFill>
                <a:schemeClr val="bg1">
                  <a:lumMod val="65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sp>
        <p:nvSpPr>
          <p:cNvPr id="33" name="CaixaDeTexto 32">
            <a:extLst>
              <a:ext uri="{FF2B5EF4-FFF2-40B4-BE49-F238E27FC236}">
                <a16:creationId xmlns:a16="http://schemas.microsoft.com/office/drawing/2014/main" id="{29196318-9FDD-81FC-2015-6FB22E444A9F}"/>
              </a:ext>
            </a:extLst>
          </p:cNvPr>
          <p:cNvSpPr txBox="1"/>
          <p:nvPr/>
        </p:nvSpPr>
        <p:spPr>
          <a:xfrm>
            <a:off x="105833" y="239223"/>
            <a:ext cx="330135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400" b="1" dirty="0">
                <a:solidFill>
                  <a:srgbClr val="C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PLANO COMERCIAL 2024</a:t>
            </a:r>
          </a:p>
        </p:txBody>
      </p:sp>
      <p:sp>
        <p:nvSpPr>
          <p:cNvPr id="34" name="CaixaDeTexto 33">
            <a:extLst>
              <a:ext uri="{FF2B5EF4-FFF2-40B4-BE49-F238E27FC236}">
                <a16:creationId xmlns:a16="http://schemas.microsoft.com/office/drawing/2014/main" id="{43B56EEB-A5DF-BAB0-7DAA-9AF70A1B9B80}"/>
              </a:ext>
            </a:extLst>
          </p:cNvPr>
          <p:cNvSpPr txBox="1"/>
          <p:nvPr/>
        </p:nvSpPr>
        <p:spPr>
          <a:xfrm>
            <a:off x="105833" y="657026"/>
            <a:ext cx="709191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4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IDÊNCIAS DO PÚBLICO</a:t>
            </a:r>
            <a:endParaRPr lang="en-US" sz="1400" b="1" dirty="0">
              <a:solidFill>
                <a:schemeClr val="bg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Imagem 1" descr="Logotipo, nome da empresa">
            <a:extLst>
              <a:ext uri="{FF2B5EF4-FFF2-40B4-BE49-F238E27FC236}">
                <a16:creationId xmlns:a16="http://schemas.microsoft.com/office/drawing/2014/main" id="{1FF22B78-BB90-A980-715E-EBFDCB9921E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50951" y="239223"/>
            <a:ext cx="831273" cy="9088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136968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Agrupar 19">
            <a:extLst>
              <a:ext uri="{FF2B5EF4-FFF2-40B4-BE49-F238E27FC236}">
                <a16:creationId xmlns:a16="http://schemas.microsoft.com/office/drawing/2014/main" id="{26E7956A-4967-42CF-AD6B-32E788CBD918}"/>
              </a:ext>
            </a:extLst>
          </p:cNvPr>
          <p:cNvGrpSpPr/>
          <p:nvPr/>
        </p:nvGrpSpPr>
        <p:grpSpPr>
          <a:xfrm>
            <a:off x="456162" y="1368423"/>
            <a:ext cx="11016368" cy="4128609"/>
            <a:chOff x="1588248" y="1227389"/>
            <a:chExt cx="3024778" cy="2060575"/>
          </a:xfrm>
        </p:grpSpPr>
        <p:sp>
          <p:nvSpPr>
            <p:cNvPr id="8" name="Retângulo 7">
              <a:extLst>
                <a:ext uri="{FF2B5EF4-FFF2-40B4-BE49-F238E27FC236}">
                  <a16:creationId xmlns:a16="http://schemas.microsoft.com/office/drawing/2014/main" id="{5A8F5BE8-22B0-448D-9F53-93EECBC8CA17}"/>
                </a:ext>
              </a:extLst>
            </p:cNvPr>
            <p:cNvSpPr/>
            <p:nvPr/>
          </p:nvSpPr>
          <p:spPr>
            <a:xfrm>
              <a:off x="1588248" y="1227390"/>
              <a:ext cx="3016757" cy="2060574"/>
            </a:xfrm>
            <a:prstGeom prst="rect">
              <a:avLst/>
            </a:prstGeom>
            <a:noFill/>
            <a:ln w="6350">
              <a:solidFill>
                <a:schemeClr val="bg1">
                  <a:lumMod val="65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9" name="CaixaDeTexto 8">
              <a:extLst>
                <a:ext uri="{FF2B5EF4-FFF2-40B4-BE49-F238E27FC236}">
                  <a16:creationId xmlns:a16="http://schemas.microsoft.com/office/drawing/2014/main" id="{30E791E8-BB39-4065-A625-58B69D85668E}"/>
                </a:ext>
              </a:extLst>
            </p:cNvPr>
            <p:cNvSpPr txBox="1"/>
            <p:nvPr/>
          </p:nvSpPr>
          <p:spPr>
            <a:xfrm>
              <a:off x="1596269" y="1249482"/>
              <a:ext cx="3008736" cy="215054"/>
            </a:xfrm>
            <a:prstGeom prst="rect">
              <a:avLst/>
            </a:prstGeom>
            <a:noFill/>
            <a:ln>
              <a:noFill/>
              <a:prstDash val="sysDash"/>
            </a:ln>
          </p:spPr>
          <p:txBody>
            <a:bodyPr wrap="square" lIns="91440" tIns="45720" rIns="91440" bIns="45720" rtlCol="0" anchor="t">
              <a:spAutoFit/>
            </a:bodyPr>
            <a:lstStyle/>
            <a:p>
              <a:r>
                <a:rPr lang="pt-BR" sz="1100" i="1" dirty="0"/>
                <a:t>FOTO 4</a:t>
              </a:r>
              <a:endParaRPr lang="pt-BR" sz="1100" i="1" dirty="0">
                <a:ea typeface="+mn-lt"/>
                <a:cs typeface="+mn-lt"/>
              </a:endParaRPr>
            </a:p>
            <a:p>
              <a:endParaRPr lang="pt-BR" sz="1100" i="1" dirty="0"/>
            </a:p>
          </p:txBody>
        </p:sp>
        <p:sp>
          <p:nvSpPr>
            <p:cNvPr id="10" name="Retângulo 9">
              <a:extLst>
                <a:ext uri="{FF2B5EF4-FFF2-40B4-BE49-F238E27FC236}">
                  <a16:creationId xmlns:a16="http://schemas.microsoft.com/office/drawing/2014/main" id="{5513BFD8-F98E-490B-AA1F-8F750A08CF69}"/>
                </a:ext>
              </a:extLst>
            </p:cNvPr>
            <p:cNvSpPr/>
            <p:nvPr/>
          </p:nvSpPr>
          <p:spPr>
            <a:xfrm>
              <a:off x="1596269" y="1227389"/>
              <a:ext cx="3016757" cy="2060575"/>
            </a:xfrm>
            <a:prstGeom prst="rect">
              <a:avLst/>
            </a:prstGeom>
            <a:noFill/>
            <a:ln>
              <a:solidFill>
                <a:schemeClr val="bg1">
                  <a:lumMod val="65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sp>
        <p:nvSpPr>
          <p:cNvPr id="33" name="CaixaDeTexto 32">
            <a:extLst>
              <a:ext uri="{FF2B5EF4-FFF2-40B4-BE49-F238E27FC236}">
                <a16:creationId xmlns:a16="http://schemas.microsoft.com/office/drawing/2014/main" id="{29196318-9FDD-81FC-2015-6FB22E444A9F}"/>
              </a:ext>
            </a:extLst>
          </p:cNvPr>
          <p:cNvSpPr txBox="1"/>
          <p:nvPr/>
        </p:nvSpPr>
        <p:spPr>
          <a:xfrm>
            <a:off x="105833" y="239223"/>
            <a:ext cx="330135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400" b="1" dirty="0">
                <a:solidFill>
                  <a:srgbClr val="C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PLANO COMERCIAL 2024</a:t>
            </a:r>
          </a:p>
        </p:txBody>
      </p:sp>
      <p:sp>
        <p:nvSpPr>
          <p:cNvPr id="34" name="CaixaDeTexto 33">
            <a:extLst>
              <a:ext uri="{FF2B5EF4-FFF2-40B4-BE49-F238E27FC236}">
                <a16:creationId xmlns:a16="http://schemas.microsoft.com/office/drawing/2014/main" id="{43B56EEB-A5DF-BAB0-7DAA-9AF70A1B9B80}"/>
              </a:ext>
            </a:extLst>
          </p:cNvPr>
          <p:cNvSpPr txBox="1"/>
          <p:nvPr/>
        </p:nvSpPr>
        <p:spPr>
          <a:xfrm>
            <a:off x="105833" y="657026"/>
            <a:ext cx="709191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4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IDÊNCIAS DO PÚBLICO</a:t>
            </a:r>
            <a:endParaRPr lang="en-US" sz="1400" b="1" dirty="0">
              <a:solidFill>
                <a:schemeClr val="bg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Imagem 1" descr="Logotipo, nome da empresa">
            <a:extLst>
              <a:ext uri="{FF2B5EF4-FFF2-40B4-BE49-F238E27FC236}">
                <a16:creationId xmlns:a16="http://schemas.microsoft.com/office/drawing/2014/main" id="{C518FDF4-A4F6-0396-0DD9-FA0083D0738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50951" y="239223"/>
            <a:ext cx="831273" cy="9088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235284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Agrupar 19">
            <a:extLst>
              <a:ext uri="{FF2B5EF4-FFF2-40B4-BE49-F238E27FC236}">
                <a16:creationId xmlns:a16="http://schemas.microsoft.com/office/drawing/2014/main" id="{26E7956A-4967-42CF-AD6B-32E788CBD918}"/>
              </a:ext>
            </a:extLst>
          </p:cNvPr>
          <p:cNvGrpSpPr/>
          <p:nvPr/>
        </p:nvGrpSpPr>
        <p:grpSpPr>
          <a:xfrm>
            <a:off x="456162" y="1368423"/>
            <a:ext cx="11016368" cy="4128609"/>
            <a:chOff x="1588248" y="1227389"/>
            <a:chExt cx="3024778" cy="2060575"/>
          </a:xfrm>
        </p:grpSpPr>
        <p:sp>
          <p:nvSpPr>
            <p:cNvPr id="8" name="Retângulo 7">
              <a:extLst>
                <a:ext uri="{FF2B5EF4-FFF2-40B4-BE49-F238E27FC236}">
                  <a16:creationId xmlns:a16="http://schemas.microsoft.com/office/drawing/2014/main" id="{5A8F5BE8-22B0-448D-9F53-93EECBC8CA17}"/>
                </a:ext>
              </a:extLst>
            </p:cNvPr>
            <p:cNvSpPr/>
            <p:nvPr/>
          </p:nvSpPr>
          <p:spPr>
            <a:xfrm>
              <a:off x="1588248" y="1227390"/>
              <a:ext cx="3016757" cy="2060574"/>
            </a:xfrm>
            <a:prstGeom prst="rect">
              <a:avLst/>
            </a:prstGeom>
            <a:noFill/>
            <a:ln w="6350">
              <a:solidFill>
                <a:schemeClr val="bg1">
                  <a:lumMod val="65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9" name="CaixaDeTexto 8">
              <a:extLst>
                <a:ext uri="{FF2B5EF4-FFF2-40B4-BE49-F238E27FC236}">
                  <a16:creationId xmlns:a16="http://schemas.microsoft.com/office/drawing/2014/main" id="{30E791E8-BB39-4065-A625-58B69D85668E}"/>
                </a:ext>
              </a:extLst>
            </p:cNvPr>
            <p:cNvSpPr txBox="1"/>
            <p:nvPr/>
          </p:nvSpPr>
          <p:spPr>
            <a:xfrm>
              <a:off x="1596269" y="1249482"/>
              <a:ext cx="3008736" cy="215054"/>
            </a:xfrm>
            <a:prstGeom prst="rect">
              <a:avLst/>
            </a:prstGeom>
            <a:noFill/>
            <a:ln>
              <a:noFill/>
              <a:prstDash val="sysDash"/>
            </a:ln>
          </p:spPr>
          <p:txBody>
            <a:bodyPr wrap="square" lIns="91440" tIns="45720" rIns="91440" bIns="45720" rtlCol="0" anchor="t">
              <a:spAutoFit/>
            </a:bodyPr>
            <a:lstStyle/>
            <a:p>
              <a:r>
                <a:rPr lang="pt-BR" sz="1100" i="1" dirty="0"/>
                <a:t>FOTO 5</a:t>
              </a:r>
              <a:endParaRPr lang="pt-BR" sz="1100" i="1" dirty="0">
                <a:ea typeface="+mn-lt"/>
                <a:cs typeface="+mn-lt"/>
              </a:endParaRPr>
            </a:p>
            <a:p>
              <a:endParaRPr lang="pt-BR" sz="1100" i="1" dirty="0"/>
            </a:p>
          </p:txBody>
        </p:sp>
        <p:sp>
          <p:nvSpPr>
            <p:cNvPr id="10" name="Retângulo 9">
              <a:extLst>
                <a:ext uri="{FF2B5EF4-FFF2-40B4-BE49-F238E27FC236}">
                  <a16:creationId xmlns:a16="http://schemas.microsoft.com/office/drawing/2014/main" id="{5513BFD8-F98E-490B-AA1F-8F750A08CF69}"/>
                </a:ext>
              </a:extLst>
            </p:cNvPr>
            <p:cNvSpPr/>
            <p:nvPr/>
          </p:nvSpPr>
          <p:spPr>
            <a:xfrm>
              <a:off x="1596269" y="1227389"/>
              <a:ext cx="3016757" cy="2060575"/>
            </a:xfrm>
            <a:prstGeom prst="rect">
              <a:avLst/>
            </a:prstGeom>
            <a:noFill/>
            <a:ln>
              <a:solidFill>
                <a:schemeClr val="bg1">
                  <a:lumMod val="65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sp>
        <p:nvSpPr>
          <p:cNvPr id="33" name="CaixaDeTexto 32">
            <a:extLst>
              <a:ext uri="{FF2B5EF4-FFF2-40B4-BE49-F238E27FC236}">
                <a16:creationId xmlns:a16="http://schemas.microsoft.com/office/drawing/2014/main" id="{29196318-9FDD-81FC-2015-6FB22E444A9F}"/>
              </a:ext>
            </a:extLst>
          </p:cNvPr>
          <p:cNvSpPr txBox="1"/>
          <p:nvPr/>
        </p:nvSpPr>
        <p:spPr>
          <a:xfrm>
            <a:off x="105833" y="239223"/>
            <a:ext cx="330135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400" b="1" dirty="0">
                <a:solidFill>
                  <a:srgbClr val="C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PLANO COMERCIAL 2024</a:t>
            </a:r>
          </a:p>
        </p:txBody>
      </p:sp>
      <p:sp>
        <p:nvSpPr>
          <p:cNvPr id="34" name="CaixaDeTexto 33">
            <a:extLst>
              <a:ext uri="{FF2B5EF4-FFF2-40B4-BE49-F238E27FC236}">
                <a16:creationId xmlns:a16="http://schemas.microsoft.com/office/drawing/2014/main" id="{43B56EEB-A5DF-BAB0-7DAA-9AF70A1B9B80}"/>
              </a:ext>
            </a:extLst>
          </p:cNvPr>
          <p:cNvSpPr txBox="1"/>
          <p:nvPr/>
        </p:nvSpPr>
        <p:spPr>
          <a:xfrm>
            <a:off x="105833" y="657026"/>
            <a:ext cx="709191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4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IDÊNCIAS DO PÚBLICO</a:t>
            </a:r>
            <a:endParaRPr lang="en-US" sz="1400" b="1" dirty="0">
              <a:solidFill>
                <a:schemeClr val="bg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Imagem 2" descr="Logotipo, nome da empresa">
            <a:extLst>
              <a:ext uri="{FF2B5EF4-FFF2-40B4-BE49-F238E27FC236}">
                <a16:creationId xmlns:a16="http://schemas.microsoft.com/office/drawing/2014/main" id="{20A9F200-1B53-099F-1B78-3B51D681FF3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50951" y="239223"/>
            <a:ext cx="831273" cy="9088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66077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1D9A78"/>
      </a:accent1>
      <a:accent2>
        <a:srgbClr val="8BC145"/>
      </a:accent2>
      <a:accent3>
        <a:srgbClr val="36AFCE"/>
      </a:accent3>
      <a:accent4>
        <a:srgbClr val="1D6FA9"/>
      </a:accent4>
      <a:accent5>
        <a:srgbClr val="B74919"/>
      </a:accent5>
      <a:accent6>
        <a:srgbClr val="F19D19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AE6F2518-B084-4896-AF52-66CC2144AA2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9A74F73BEC039B4487045A04FAD63B24" ma:contentTypeVersion="13" ma:contentTypeDescription="Crie um novo documento." ma:contentTypeScope="" ma:versionID="6c03f39f2b6c995b95a6829824726229">
  <xsd:schema xmlns:xsd="http://www.w3.org/2001/XMLSchema" xmlns:xs="http://www.w3.org/2001/XMLSchema" xmlns:p="http://schemas.microsoft.com/office/2006/metadata/properties" xmlns:ns2="ca388034-c4d3-400f-bba9-041961f3c0c0" xmlns:ns3="4707e151-511f-429e-b961-bfd10f64363c" targetNamespace="http://schemas.microsoft.com/office/2006/metadata/properties" ma:root="true" ma:fieldsID="188702f5ae3d7add6bab58154693cac4" ns2:_="" ns3:_="">
    <xsd:import namespace="ca388034-c4d3-400f-bba9-041961f3c0c0"/>
    <xsd:import namespace="4707e151-511f-429e-b961-bfd10f64363c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a388034-c4d3-400f-bba9-041961f3c0c0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Compartilhado com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Detalhes de Compartilhado Com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707e151-511f-429e-b961-bfd10f64363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7B89AE8-B768-4198-90BF-37C937D2BCA5}">
  <ds:schemaRefs>
    <ds:schemaRef ds:uri="ca388034-c4d3-400f-bba9-041961f3c0c0"/>
    <ds:schemaRef ds:uri="http://www.w3.org/XML/1998/namespace"/>
    <ds:schemaRef ds:uri="http://purl.org/dc/elements/1.1/"/>
    <ds:schemaRef ds:uri="http://schemas.microsoft.com/office/2006/documentManagement/types"/>
    <ds:schemaRef ds:uri="http://purl.org/dc/dcmitype/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4707e151-511f-429e-b961-bfd10f64363c"/>
  </ds:schemaRefs>
</ds:datastoreItem>
</file>

<file path=customXml/itemProps2.xml><?xml version="1.0" encoding="utf-8"?>
<ds:datastoreItem xmlns:ds="http://schemas.openxmlformats.org/officeDocument/2006/customXml" ds:itemID="{4F209178-CA2D-44F3-A5EF-F59B7DD1183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D3477EA-DAA3-491A-878A-980559E57C6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a388034-c4d3-400f-bba9-041961f3c0c0"/>
    <ds:schemaRef ds:uri="4707e151-511f-429e-b961-bfd10f64363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378</TotalTime>
  <Words>141</Words>
  <Application>Microsoft Office PowerPoint</Application>
  <PresentationFormat>Widescreen</PresentationFormat>
  <Paragraphs>50</Paragraphs>
  <Slides>10</Slides>
  <Notes>0</Notes>
  <HiddenSlides>0</HiddenSlides>
  <MMClips>0</MMClips>
  <ScaleCrop>false</ScaleCrop>
  <HeadingPairs>
    <vt:vector size="8" baseType="variant">
      <vt:variant>
        <vt:lpstr>Fontes usadas</vt:lpstr>
      </vt:variant>
      <vt:variant>
        <vt:i4>4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10</vt:i4>
      </vt:variant>
    </vt:vector>
  </HeadingPairs>
  <TitlesOfParts>
    <vt:vector size="16" baseType="lpstr">
      <vt:lpstr>Arial</vt:lpstr>
      <vt:lpstr>Arial Narrow</vt:lpstr>
      <vt:lpstr>Calibri</vt:lpstr>
      <vt:lpstr>Calibri Light</vt:lpstr>
      <vt:lpstr>Office Theme</vt:lpstr>
      <vt:lpstr>Diapositive think-cel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dam Bicknell</dc:creator>
  <cp:lastModifiedBy>Adrevando Cleber de Lima</cp:lastModifiedBy>
  <cp:revision>168</cp:revision>
  <dcterms:created xsi:type="dcterms:W3CDTF">2021-11-05T16:35:59Z</dcterms:created>
  <dcterms:modified xsi:type="dcterms:W3CDTF">2024-06-28T14:42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A74F73BEC039B4487045A04FAD63B24</vt:lpwstr>
  </property>
</Properties>
</file>